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4191" r:id="rId4"/>
  </p:sldMasterIdLst>
  <p:notesMasterIdLst>
    <p:notesMasterId r:id="rId34"/>
  </p:notesMasterIdLst>
  <p:sldIdLst>
    <p:sldId id="2145707467" r:id="rId5"/>
    <p:sldId id="2145707465" r:id="rId6"/>
    <p:sldId id="2145707471" r:id="rId7"/>
    <p:sldId id="2145707473" r:id="rId8"/>
    <p:sldId id="2145707474" r:id="rId9"/>
    <p:sldId id="2145707491" r:id="rId10"/>
    <p:sldId id="2145707457" r:id="rId11"/>
    <p:sldId id="2145707459" r:id="rId12"/>
    <p:sldId id="2145707460" r:id="rId13"/>
    <p:sldId id="2145707461" r:id="rId14"/>
    <p:sldId id="2145707462" r:id="rId15"/>
    <p:sldId id="2145707487" r:id="rId16"/>
    <p:sldId id="2145707463" r:id="rId17"/>
    <p:sldId id="2145707488" r:id="rId18"/>
    <p:sldId id="2145707475" r:id="rId19"/>
    <p:sldId id="2145707476" r:id="rId20"/>
    <p:sldId id="2145707477" r:id="rId21"/>
    <p:sldId id="2145707478" r:id="rId22"/>
    <p:sldId id="2145707479" r:id="rId23"/>
    <p:sldId id="2145707480" r:id="rId24"/>
    <p:sldId id="2145707481" r:id="rId25"/>
    <p:sldId id="2145707482" r:id="rId26"/>
    <p:sldId id="2145707483" r:id="rId27"/>
    <p:sldId id="2145707484" r:id="rId28"/>
    <p:sldId id="2145707485" r:id="rId29"/>
    <p:sldId id="2145707492" r:id="rId30"/>
    <p:sldId id="2145707493" r:id="rId31"/>
    <p:sldId id="2145707472" r:id="rId32"/>
    <p:sldId id="2145707489" r:id="rId33"/>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rizaj, Adora" initials="HA" lastIdx="15" clrIdx="0">
    <p:extLst>
      <p:ext uri="{19B8F6BF-5375-455C-9EA6-DF929625EA0E}">
        <p15:presenceInfo xmlns:p15="http://schemas.microsoft.com/office/powerpoint/2012/main" userId="S::Adora.Harizaj@ct.gov::1ff7c7cd-9b81-493f-98df-a7ef93c9722a" providerId="AD"/>
      </p:ext>
    </p:extLst>
  </p:cmAuthor>
  <p:cmAuthor id="2" name="Leung, Vivian" initials="LV" lastIdx="9" clrIdx="1">
    <p:extLst>
      <p:ext uri="{19B8F6BF-5375-455C-9EA6-DF929625EA0E}">
        <p15:presenceInfo xmlns:p15="http://schemas.microsoft.com/office/powerpoint/2012/main" userId="S::vivian.leung@ct.gov::932eb906-138c-4f55-8368-067b1449c5e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58DE7A-336C-4B8C-BCDA-1D2324E1173E}" v="1719" dt="2022-01-11T23:10:51.029"/>
    <p1510:client id="{9C2CD15A-BF2A-4B68-A950-39FF3EC9A6CF}" v="493" dt="2022-01-12T15:18:19.892"/>
    <p1510:client id="{A18B0CC5-266A-4B3B-AC75-F6EDD08ED065}" v="1068" dt="2022-01-12T13:49:54.456"/>
    <p1510:client id="{B232CD7E-9BDD-E146-2EC0-E9293048853D}" v="1864" dt="2022-01-11T22:22:08.885"/>
  </p1510:revLst>
</p1510:revInfo>
</file>

<file path=ppt/tableStyles.xml><?xml version="1.0" encoding="utf-8"?>
<a:tblStyleLst xmlns:a="http://schemas.openxmlformats.org/drawingml/2006/main" def="{BF0900AB-1280-4917-8A4A-1D4EE59CAC00}">
  <a:tblStyle styleId="{BF0900AB-1280-4917-8A4A-1D4EE59CAC00}" styleName="Table_0">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BF1E8"/>
          </a:solidFill>
        </a:fill>
      </a:tcStyle>
    </a:wholeTbl>
    <a:band1H>
      <a:tcTxStyle/>
      <a:tcStyle>
        <a:tcBdr/>
        <a:fill>
          <a:solidFill>
            <a:srgbClr val="D4E2CE"/>
          </a:solidFill>
        </a:fill>
      </a:tcStyle>
    </a:band1H>
    <a:band2H>
      <a:tcTxStyle/>
      <a:tcStyle>
        <a:tcBdr/>
      </a:tcStyle>
    </a:band2H>
    <a:band1V>
      <a:tcTxStyle/>
      <a:tcStyle>
        <a:tcBdr/>
        <a:fill>
          <a:solidFill>
            <a:srgbClr val="D4E2CE"/>
          </a:solidFill>
        </a:fill>
      </a:tcStyle>
    </a:band1V>
    <a:band2V>
      <a:tcTxStyle/>
      <a:tcStyle>
        <a:tcBdr/>
      </a:tcStyle>
    </a:band2V>
    <a:lastCol>
      <a:tcTxStyle b="on" i="off">
        <a:font>
          <a:latin typeface="Calibri"/>
          <a:ea typeface="Calibri"/>
          <a:cs typeface="Calibri"/>
        </a:font>
        <a:schemeClr val="lt1"/>
      </a:tcTxStyle>
      <a:tcStyle>
        <a:tcBdr/>
        <a:fill>
          <a:solidFill>
            <a:schemeClr val="accent6"/>
          </a:solidFill>
        </a:fill>
      </a:tcStyle>
    </a:lastCol>
    <a:firstCol>
      <a:tcTxStyle b="on" i="off">
        <a:font>
          <a:latin typeface="Calibri"/>
          <a:ea typeface="Calibri"/>
          <a:cs typeface="Calibri"/>
        </a:font>
        <a:schemeClr val="lt1"/>
      </a:tcTxStyle>
      <a:tcStyle>
        <a:tcBdr/>
        <a:fill>
          <a:solidFill>
            <a:schemeClr val="accent6"/>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6"/>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6"/>
          </a:solidFill>
        </a:fill>
      </a:tcStyle>
    </a:firstRow>
    <a:neCell>
      <a:tcTxStyle/>
      <a:tcStyle>
        <a:tcBdr/>
      </a:tcStyle>
    </a:neCell>
    <a:nwCell>
      <a:tcTxStyle/>
      <a:tcStyle>
        <a:tcBdr/>
      </a:tcStyle>
    </a:nwCell>
  </a:tblStyle>
  <a:tblStyle styleId="{93B785DF-8E58-47B3-A983-B1865D1C2D37}" styleName="Table_1">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CECE7"/>
          </a:solidFill>
        </a:fill>
      </a:tcStyle>
    </a:wholeTbl>
    <a:band1H>
      <a:tcTxStyle/>
      <a:tcStyle>
        <a:tcBdr/>
        <a:fill>
          <a:solidFill>
            <a:srgbClr val="F8D6CC"/>
          </a:solidFill>
        </a:fill>
      </a:tcStyle>
    </a:band1H>
    <a:band2H>
      <a:tcTxStyle/>
      <a:tcStyle>
        <a:tcBdr/>
      </a:tcStyle>
    </a:band2H>
    <a:band1V>
      <a:tcTxStyle/>
      <a:tcStyle>
        <a:tcBdr/>
        <a:fill>
          <a:solidFill>
            <a:srgbClr val="F8D6CC"/>
          </a:solidFill>
        </a:fill>
      </a:tcStyle>
    </a:band1V>
    <a:band2V>
      <a:tcTxStyle/>
      <a:tcStyle>
        <a:tcBdr/>
      </a:tcStyle>
    </a:band2V>
    <a:lastCol>
      <a:tcTxStyle b="on" i="off">
        <a:font>
          <a:latin typeface="Calibri"/>
          <a:ea typeface="Calibri"/>
          <a:cs typeface="Calibri"/>
        </a:font>
        <a:schemeClr val="lt1"/>
      </a:tcTxStyle>
      <a:tcStyle>
        <a:tcBdr/>
        <a:fill>
          <a:solidFill>
            <a:schemeClr val="accent2"/>
          </a:solidFill>
        </a:fill>
      </a:tcStyle>
    </a:lastCol>
    <a:firstCol>
      <a:tcTxStyle b="on" i="off">
        <a:font>
          <a:latin typeface="Calibri"/>
          <a:ea typeface="Calibri"/>
          <a:cs typeface="Calibri"/>
        </a:font>
        <a:schemeClr val="lt1"/>
      </a:tcTxStyle>
      <a:tcStyle>
        <a:tcBdr/>
        <a:fill>
          <a:solidFill>
            <a:schemeClr val="accent2"/>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2"/>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2"/>
          </a:solidFill>
        </a:fill>
      </a:tcStyle>
    </a:firstRow>
    <a:neCell>
      <a:tcTxStyle/>
      <a:tcStyle>
        <a:tcBdr/>
      </a:tcStyle>
    </a:neCell>
    <a:nwCell>
      <a:tcTxStyle/>
      <a:tcStyle>
        <a:tcBdr/>
      </a:tcStyle>
    </a:nwCell>
  </a:tblStyle>
  <a:tblStyle styleId="{294480A9-3AE7-4B93-A86A-14EE0AB5B684}" styleName="Table_2">
    <a:wholeTbl>
      <a:tcTxStyle b="off" i="off">
        <a:font>
          <a:latin typeface="Calibri"/>
          <a:ea typeface="Calibri"/>
          <a:cs typeface="Calibri"/>
        </a:font>
        <a:schemeClr val="dk1"/>
      </a:tcTxStyle>
      <a:tcStyle>
        <a:tcBdr>
          <a:left>
            <a:ln w="12700" cap="flat" cmpd="sng">
              <a:solidFill>
                <a:schemeClr val="accent1"/>
              </a:solidFill>
              <a:prstDash val="solid"/>
              <a:round/>
              <a:headEnd type="none" w="sm" len="sm"/>
              <a:tailEnd type="none" w="sm" len="sm"/>
            </a:ln>
          </a:left>
          <a:right>
            <a:ln w="12700" cap="flat" cmpd="sng">
              <a:solidFill>
                <a:schemeClr val="accent1"/>
              </a:solidFill>
              <a:prstDash val="solid"/>
              <a:round/>
              <a:headEnd type="none" w="sm" len="sm"/>
              <a:tailEnd type="none" w="sm" len="sm"/>
            </a:ln>
          </a:right>
          <a:top>
            <a:ln w="12700" cap="flat" cmpd="sng">
              <a:solidFill>
                <a:schemeClr val="accent1"/>
              </a:solidFill>
              <a:prstDash val="solid"/>
              <a:round/>
              <a:headEnd type="none" w="sm" len="sm"/>
              <a:tailEnd type="none" w="sm" len="sm"/>
            </a:ln>
          </a:top>
          <a:bottom>
            <a:ln w="12700" cap="flat" cmpd="sng">
              <a:solidFill>
                <a:schemeClr val="accent1"/>
              </a:solidFill>
              <a:prstDash val="solid"/>
              <a:round/>
              <a:headEnd type="none" w="sm" len="sm"/>
              <a:tailEnd type="none" w="sm" len="sm"/>
            </a:ln>
          </a:bottom>
          <a:insideH>
            <a:ln w="12700" cap="flat" cmpd="sng">
              <a:solidFill>
                <a:schemeClr val="accent1"/>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chemeClr val="lt1"/>
          </a:solidFill>
        </a:fill>
      </a:tcStyle>
    </a:wholeTbl>
    <a:band1H>
      <a:tcTxStyle/>
      <a:tcStyle>
        <a:tcBdr/>
        <a:fill>
          <a:solidFill>
            <a:srgbClr val="E8EBF5"/>
          </a:solidFill>
        </a:fill>
      </a:tcStyle>
    </a:band1H>
    <a:band2H>
      <a:tcTxStyle/>
      <a:tcStyle>
        <a:tcBdr/>
      </a:tcStyle>
    </a:band2H>
    <a:band1V>
      <a:tcTxStyle/>
      <a:tcStyle>
        <a:tcBdr/>
        <a:fill>
          <a:solidFill>
            <a:srgbClr val="E8EBF5"/>
          </a:solidFill>
        </a:fill>
      </a:tcStyle>
    </a:band1V>
    <a:band2V>
      <a:tcTxStyle/>
      <a:tcStyle>
        <a:tcBdr/>
      </a:tcStyle>
    </a:band2V>
    <a:lastCol>
      <a:tcTxStyle b="on" i="off"/>
      <a:tcStyle>
        <a:tcBdr/>
      </a:tcStyle>
    </a:lastCol>
    <a:firstCol>
      <a:tcTxStyle b="on" i="off"/>
      <a:tcStyle>
        <a:tcBdr/>
      </a:tcStyle>
    </a:firstCol>
    <a:lastRow>
      <a:tcTxStyle b="on" i="off"/>
      <a:tcStyle>
        <a:tcBdr>
          <a:top>
            <a:ln w="50800" cap="flat" cmpd="sng">
              <a:solidFill>
                <a:schemeClr val="accent1"/>
              </a:solidFill>
              <a:prstDash val="solid"/>
              <a:round/>
              <a:headEnd type="none" w="sm" len="sm"/>
              <a:tailEnd type="none" w="sm" len="sm"/>
            </a:ln>
          </a:top>
        </a:tcBdr>
        <a:fill>
          <a:solidFill>
            <a:schemeClr val="lt1"/>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fill>
          <a:solidFill>
            <a:schemeClr val="accent1"/>
          </a:solidFill>
        </a:fill>
      </a:tcStyle>
    </a:firstRow>
    <a:neCell>
      <a:tcTxStyle/>
      <a:tcStyle>
        <a:tcBdr/>
      </a:tcStyle>
    </a:neCell>
    <a:nwCell>
      <a:tcTxStyle/>
      <a:tcStyle>
        <a:tcBdr/>
      </a:tcStyle>
    </a:nwCell>
  </a:tblStyle>
  <a:tblStyle styleId="{1E58A7F4-1DBA-4B63-8EFE-D66E263225BE}" styleName="Table_3">
    <a:wholeTbl>
      <a:tcTxStyle b="off" i="off">
        <a:font>
          <a:latin typeface="Calibri"/>
          <a:ea typeface="Calibri"/>
          <a:cs typeface="Calibri"/>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25400" cap="flat" cmpd="sng">
              <a:solidFill>
                <a:schemeClr val="dk1"/>
              </a:solidFill>
              <a:prstDash val="solid"/>
              <a:round/>
              <a:headEnd type="none" w="sm" len="sm"/>
              <a:tailEnd type="none" w="sm" len="sm"/>
            </a:ln>
          </a:top>
          <a:bottom>
            <a:ln w="25400" cap="flat" cmpd="sng">
              <a:solidFill>
                <a:schemeClr val="dk1"/>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chemeClr val="lt1"/>
          </a:solidFill>
        </a:fill>
      </a:tcStyle>
    </a:wholeTbl>
    <a:band1H>
      <a:tcTxStyle/>
      <a:tcStyle>
        <a:tcBdr/>
        <a:fill>
          <a:solidFill>
            <a:srgbClr val="E6E6E6"/>
          </a:solidFill>
        </a:fill>
      </a:tcStyle>
    </a:band1H>
    <a:band2H>
      <a:tcTxStyle/>
      <a:tcStyle>
        <a:tcBdr/>
      </a:tcStyle>
    </a:band2H>
    <a:band1V>
      <a:tcTxStyle/>
      <a:tcStyle>
        <a:tcBdr/>
        <a:fill>
          <a:solidFill>
            <a:srgbClr val="E6E6E6"/>
          </a:solidFill>
        </a:fill>
      </a:tcStyle>
    </a:band1V>
    <a:band2V>
      <a:tcTxStyle/>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tcStyle>
        <a:tcBdr>
          <a:top>
            <a:ln w="50800" cap="flat" cmpd="sng">
              <a:solidFill>
                <a:schemeClr val="dk1"/>
              </a:solidFill>
              <a:prstDash val="solid"/>
              <a:round/>
              <a:headEnd type="none" w="sm" len="sm"/>
              <a:tailEnd type="none" w="sm" len="sm"/>
            </a:ln>
          </a:top>
        </a:tcBdr>
        <a:fill>
          <a:solidFill>
            <a:schemeClr val="lt1"/>
          </a:solidFill>
        </a:fill>
      </a:tcStyle>
    </a:lastRow>
    <a:seCell>
      <a:tcTxStyle b="on" i="off">
        <a:font>
          <a:latin typeface="Calibri"/>
          <a:ea typeface="Calibri"/>
          <a:cs typeface="Calibri"/>
        </a:font>
        <a:schemeClr val="dk1"/>
      </a:tcTxStyle>
      <a:tcStyle>
        <a:tcBdr/>
      </a:tcStyle>
    </a:seCell>
    <a:swCell>
      <a:tcTxStyle b="on" i="off">
        <a:font>
          <a:latin typeface="Calibri"/>
          <a:ea typeface="Calibri"/>
          <a:cs typeface="Calibri"/>
        </a:font>
        <a:schemeClr val="dk1"/>
      </a:tcTxStyle>
      <a:tcStyle>
        <a:tcBdr/>
      </a:tcStyle>
    </a:swCell>
    <a:firstRow>
      <a:tcTxStyle b="on" i="off">
        <a:font>
          <a:latin typeface="Calibri"/>
          <a:ea typeface="Calibri"/>
          <a:cs typeface="Calibri"/>
        </a:font>
        <a:schemeClr val="lt1"/>
      </a:tcTxStyle>
      <a:tcStyle>
        <a:tcBdr>
          <a:bottom>
            <a:ln w="25400" cap="flat" cmpd="sng">
              <a:solidFill>
                <a:schemeClr val="dk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2" d="100"/>
          <a:sy n="112" d="100"/>
        </p:scale>
        <p:origin x="360" y="78"/>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refice, Adelita" userId="9c4c649e-d43f-4c4f-acd6-4a8a442b7dc3" providerId="ADAL" clId="{A18B0CC5-266A-4B3B-AC75-F6EDD08ED065}"/>
    <pc:docChg chg="custSel modSld">
      <pc:chgData name="Orefice, Adelita" userId="9c4c649e-d43f-4c4f-acd6-4a8a442b7dc3" providerId="ADAL" clId="{A18B0CC5-266A-4B3B-AC75-F6EDD08ED065}" dt="2022-01-12T13:49:54.456" v="1067" actId="20577"/>
      <pc:docMkLst>
        <pc:docMk/>
      </pc:docMkLst>
      <pc:sldChg chg="modSp mod">
        <pc:chgData name="Orefice, Adelita" userId="9c4c649e-d43f-4c4f-acd6-4a8a442b7dc3" providerId="ADAL" clId="{A18B0CC5-266A-4B3B-AC75-F6EDD08ED065}" dt="2022-01-12T13:49:54.456" v="1067" actId="20577"/>
        <pc:sldMkLst>
          <pc:docMk/>
          <pc:sldMk cId="2821115675" sldId="2145707467"/>
        </pc:sldMkLst>
        <pc:spChg chg="mod">
          <ac:chgData name="Orefice, Adelita" userId="9c4c649e-d43f-4c4f-acd6-4a8a442b7dc3" providerId="ADAL" clId="{A18B0CC5-266A-4B3B-AC75-F6EDD08ED065}" dt="2022-01-12T13:48:55.381" v="983" actId="20577"/>
          <ac:spMkLst>
            <pc:docMk/>
            <pc:sldMk cId="2821115675" sldId="2145707467"/>
            <ac:spMk id="3" creationId="{C13739AA-DDA2-4E28-A299-11A52E09ECEF}"/>
          </ac:spMkLst>
        </pc:spChg>
        <pc:spChg chg="mod">
          <ac:chgData name="Orefice, Adelita" userId="9c4c649e-d43f-4c4f-acd6-4a8a442b7dc3" providerId="ADAL" clId="{A18B0CC5-266A-4B3B-AC75-F6EDD08ED065}" dt="2022-01-12T13:49:54.456" v="1067" actId="20577"/>
          <ac:spMkLst>
            <pc:docMk/>
            <pc:sldMk cId="2821115675" sldId="2145707467"/>
            <ac:spMk id="4" creationId="{31CF8ABA-B106-4528-A9B2-D390C80D6E0E}"/>
          </ac:spMkLst>
        </pc:spChg>
      </pc:sldChg>
    </pc:docChg>
  </pc:docChgLst>
  <pc:docChgLst>
    <pc:chgData name="Harizaj, Adora" userId="1ff7c7cd-9b81-493f-98df-a7ef93c9722a" providerId="ADAL" clId="{9C2CD15A-BF2A-4B68-A950-39FF3EC9A6CF}"/>
    <pc:docChg chg="custSel addSld delSld modSld sldOrd">
      <pc:chgData name="Harizaj, Adora" userId="1ff7c7cd-9b81-493f-98df-a7ef93c9722a" providerId="ADAL" clId="{9C2CD15A-BF2A-4B68-A950-39FF3EC9A6CF}" dt="2022-01-12T15:18:19.891" v="1052"/>
      <pc:docMkLst>
        <pc:docMk/>
      </pc:docMkLst>
      <pc:sldChg chg="add del">
        <pc:chgData name="Harizaj, Adora" userId="1ff7c7cd-9b81-493f-98df-a7ef93c9722a" providerId="ADAL" clId="{9C2CD15A-BF2A-4B68-A950-39FF3EC9A6CF}" dt="2022-01-12T15:18:19.891" v="1052"/>
        <pc:sldMkLst>
          <pc:docMk/>
          <pc:sldMk cId="4176116442" sldId="558"/>
        </pc:sldMkLst>
      </pc:sldChg>
      <pc:sldChg chg="addSp delSp modSp mod ord addCm delCm modCm">
        <pc:chgData name="Harizaj, Adora" userId="1ff7c7cd-9b81-493f-98df-a7ef93c9722a" providerId="ADAL" clId="{9C2CD15A-BF2A-4B68-A950-39FF3EC9A6CF}" dt="2022-01-11T23:01:08.420" v="1050" actId="20577"/>
        <pc:sldMkLst>
          <pc:docMk/>
          <pc:sldMk cId="4160238306" sldId="2145707452"/>
        </pc:sldMkLst>
        <pc:spChg chg="mod">
          <ac:chgData name="Harizaj, Adora" userId="1ff7c7cd-9b81-493f-98df-a7ef93c9722a" providerId="ADAL" clId="{9C2CD15A-BF2A-4B68-A950-39FF3EC9A6CF}" dt="2022-01-11T22:48:45.191" v="894" actId="1076"/>
          <ac:spMkLst>
            <pc:docMk/>
            <pc:sldMk cId="4160238306" sldId="2145707452"/>
            <ac:spMk id="3" creationId="{C13739AA-DDA2-4E28-A299-11A52E09ECEF}"/>
          </ac:spMkLst>
        </pc:spChg>
        <pc:spChg chg="mod">
          <ac:chgData name="Harizaj, Adora" userId="1ff7c7cd-9b81-493f-98df-a7ef93c9722a" providerId="ADAL" clId="{9C2CD15A-BF2A-4B68-A950-39FF3EC9A6CF}" dt="2022-01-11T23:01:08.420" v="1050" actId="20577"/>
          <ac:spMkLst>
            <pc:docMk/>
            <pc:sldMk cId="4160238306" sldId="2145707452"/>
            <ac:spMk id="4" creationId="{31CF8ABA-B106-4528-A9B2-D390C80D6E0E}"/>
          </ac:spMkLst>
        </pc:spChg>
        <pc:spChg chg="add mod">
          <ac:chgData name="Harizaj, Adora" userId="1ff7c7cd-9b81-493f-98df-a7ef93c9722a" providerId="ADAL" clId="{9C2CD15A-BF2A-4B68-A950-39FF3EC9A6CF}" dt="2022-01-11T23:00:11.657" v="1036" actId="14100"/>
          <ac:spMkLst>
            <pc:docMk/>
            <pc:sldMk cId="4160238306" sldId="2145707452"/>
            <ac:spMk id="6" creationId="{F91BA110-1303-458D-8071-B02E1F494324}"/>
          </ac:spMkLst>
        </pc:spChg>
        <pc:spChg chg="mod">
          <ac:chgData name="Harizaj, Adora" userId="1ff7c7cd-9b81-493f-98df-a7ef93c9722a" providerId="ADAL" clId="{9C2CD15A-BF2A-4B68-A950-39FF3EC9A6CF}" dt="2022-01-11T23:00:28.060" v="1038" actId="1076"/>
          <ac:spMkLst>
            <pc:docMk/>
            <pc:sldMk cId="4160238306" sldId="2145707452"/>
            <ac:spMk id="7" creationId="{306A58A2-73A7-484A-A82B-16C1D91D7096}"/>
          </ac:spMkLst>
        </pc:spChg>
        <pc:picChg chg="add del mod">
          <ac:chgData name="Harizaj, Adora" userId="1ff7c7cd-9b81-493f-98df-a7ef93c9722a" providerId="ADAL" clId="{9C2CD15A-BF2A-4B68-A950-39FF3EC9A6CF}" dt="2022-01-11T22:59:31.423" v="1025" actId="478"/>
          <ac:picMkLst>
            <pc:docMk/>
            <pc:sldMk cId="4160238306" sldId="2145707452"/>
            <ac:picMk id="5" creationId="{A09E0461-793B-4DD3-8F99-47F7B8DC686D}"/>
          </ac:picMkLst>
        </pc:picChg>
        <pc:picChg chg="add mod ord modCrop">
          <ac:chgData name="Harizaj, Adora" userId="1ff7c7cd-9b81-493f-98df-a7ef93c9722a" providerId="ADAL" clId="{9C2CD15A-BF2A-4B68-A950-39FF3EC9A6CF}" dt="2022-01-11T23:00:17.956" v="1037" actId="1076"/>
          <ac:picMkLst>
            <pc:docMk/>
            <pc:sldMk cId="4160238306" sldId="2145707452"/>
            <ac:picMk id="9" creationId="{4C23CCEE-12A8-4DF9-8311-0EE7E35E6735}"/>
          </ac:picMkLst>
        </pc:picChg>
      </pc:sldChg>
      <pc:sldChg chg="modSp add mod ord addCm delCm">
        <pc:chgData name="Harizaj, Adora" userId="1ff7c7cd-9b81-493f-98df-a7ef93c9722a" providerId="ADAL" clId="{9C2CD15A-BF2A-4B68-A950-39FF3EC9A6CF}" dt="2022-01-11T22:53:00.229" v="1021" actId="1592"/>
        <pc:sldMkLst>
          <pc:docMk/>
          <pc:sldMk cId="1779706480" sldId="2145707453"/>
        </pc:sldMkLst>
        <pc:spChg chg="mod">
          <ac:chgData name="Harizaj, Adora" userId="1ff7c7cd-9b81-493f-98df-a7ef93c9722a" providerId="ADAL" clId="{9C2CD15A-BF2A-4B68-A950-39FF3EC9A6CF}" dt="2022-01-07T16:54:01.327" v="12" actId="20577"/>
          <ac:spMkLst>
            <pc:docMk/>
            <pc:sldMk cId="1779706480" sldId="2145707453"/>
            <ac:spMk id="3" creationId="{C13739AA-DDA2-4E28-A299-11A52E09ECEF}"/>
          </ac:spMkLst>
        </pc:spChg>
        <pc:spChg chg="mod">
          <ac:chgData name="Harizaj, Adora" userId="1ff7c7cd-9b81-493f-98df-a7ef93c9722a" providerId="ADAL" clId="{9C2CD15A-BF2A-4B68-A950-39FF3EC9A6CF}" dt="2022-01-10T19:44:25.832" v="544" actId="20577"/>
          <ac:spMkLst>
            <pc:docMk/>
            <pc:sldMk cId="1779706480" sldId="2145707453"/>
            <ac:spMk id="4" creationId="{31CF8ABA-B106-4528-A9B2-D390C80D6E0E}"/>
          </ac:spMkLst>
        </pc:spChg>
      </pc:sldChg>
      <pc:sldChg chg="add del ord">
        <pc:chgData name="Harizaj, Adora" userId="1ff7c7cd-9b81-493f-98df-a7ef93c9722a" providerId="ADAL" clId="{9C2CD15A-BF2A-4B68-A950-39FF3EC9A6CF}" dt="2022-01-07T16:53:51.134" v="3" actId="47"/>
        <pc:sldMkLst>
          <pc:docMk/>
          <pc:sldMk cId="2945959972" sldId="2145707453"/>
        </pc:sldMkLst>
      </pc:sldChg>
      <pc:sldChg chg="modSp add mod">
        <pc:chgData name="Harizaj, Adora" userId="1ff7c7cd-9b81-493f-98df-a7ef93c9722a" providerId="ADAL" clId="{9C2CD15A-BF2A-4B68-A950-39FF3EC9A6CF}" dt="2022-01-10T19:22:32.371" v="296" actId="21"/>
        <pc:sldMkLst>
          <pc:docMk/>
          <pc:sldMk cId="1869829873" sldId="2145707454"/>
        </pc:sldMkLst>
        <pc:spChg chg="mod">
          <ac:chgData name="Harizaj, Adora" userId="1ff7c7cd-9b81-493f-98df-a7ef93c9722a" providerId="ADAL" clId="{9C2CD15A-BF2A-4B68-A950-39FF3EC9A6CF}" dt="2022-01-10T19:22:32.371" v="296" actId="21"/>
          <ac:spMkLst>
            <pc:docMk/>
            <pc:sldMk cId="1869829873" sldId="2145707454"/>
            <ac:spMk id="4" creationId="{31CF8ABA-B106-4528-A9B2-D390C80D6E0E}"/>
          </ac:spMkLst>
        </pc:spChg>
      </pc:sldChg>
      <pc:sldChg chg="addSp modSp add mod">
        <pc:chgData name="Harizaj, Adora" userId="1ff7c7cd-9b81-493f-98df-a7ef93c9722a" providerId="ADAL" clId="{9C2CD15A-BF2A-4B68-A950-39FF3EC9A6CF}" dt="2022-01-10T19:46:21.049" v="559" actId="14100"/>
        <pc:sldMkLst>
          <pc:docMk/>
          <pc:sldMk cId="1859567710" sldId="2145707455"/>
        </pc:sldMkLst>
        <pc:spChg chg="mod">
          <ac:chgData name="Harizaj, Adora" userId="1ff7c7cd-9b81-493f-98df-a7ef93c9722a" providerId="ADAL" clId="{9C2CD15A-BF2A-4B68-A950-39FF3EC9A6CF}" dt="2022-01-10T19:44:31.123" v="545" actId="20577"/>
          <ac:spMkLst>
            <pc:docMk/>
            <pc:sldMk cId="1859567710" sldId="2145707455"/>
            <ac:spMk id="3" creationId="{C13739AA-DDA2-4E28-A299-11A52E09ECEF}"/>
          </ac:spMkLst>
        </pc:spChg>
        <pc:spChg chg="mod">
          <ac:chgData name="Harizaj, Adora" userId="1ff7c7cd-9b81-493f-98df-a7ef93c9722a" providerId="ADAL" clId="{9C2CD15A-BF2A-4B68-A950-39FF3EC9A6CF}" dt="2022-01-10T19:44:37.862" v="546" actId="14100"/>
          <ac:spMkLst>
            <pc:docMk/>
            <pc:sldMk cId="1859567710" sldId="2145707455"/>
            <ac:spMk id="4" creationId="{31CF8ABA-B106-4528-A9B2-D390C80D6E0E}"/>
          </ac:spMkLst>
        </pc:spChg>
        <pc:spChg chg="add mod">
          <ac:chgData name="Harizaj, Adora" userId="1ff7c7cd-9b81-493f-98df-a7ef93c9722a" providerId="ADAL" clId="{9C2CD15A-BF2A-4B68-A950-39FF3EC9A6CF}" dt="2022-01-10T19:45:41.201" v="558" actId="20577"/>
          <ac:spMkLst>
            <pc:docMk/>
            <pc:sldMk cId="1859567710" sldId="2145707455"/>
            <ac:spMk id="6" creationId="{2D86C3D9-3703-4958-B40E-58E53C5A6E73}"/>
          </ac:spMkLst>
        </pc:spChg>
        <pc:picChg chg="add mod">
          <ac:chgData name="Harizaj, Adora" userId="1ff7c7cd-9b81-493f-98df-a7ef93c9722a" providerId="ADAL" clId="{9C2CD15A-BF2A-4B68-A950-39FF3EC9A6CF}" dt="2022-01-10T19:46:21.049" v="559" actId="14100"/>
          <ac:picMkLst>
            <pc:docMk/>
            <pc:sldMk cId="1859567710" sldId="2145707455"/>
            <ac:picMk id="5" creationId="{9E3BE859-2C58-468C-BCC6-34531F869F07}"/>
          </ac:picMkLst>
        </pc:picChg>
      </pc:sldChg>
      <pc:sldChg chg="new del">
        <pc:chgData name="Harizaj, Adora" userId="1ff7c7cd-9b81-493f-98df-a7ef93c9722a" providerId="ADAL" clId="{9C2CD15A-BF2A-4B68-A950-39FF3EC9A6CF}" dt="2022-01-10T19:34:28.452" v="299" actId="47"/>
        <pc:sldMkLst>
          <pc:docMk/>
          <pc:sldMk cId="3157883334" sldId="2145707455"/>
        </pc:sldMkLst>
      </pc:sldChg>
      <pc:sldMasterChg chg="delSldLayout">
        <pc:chgData name="Harizaj, Adora" userId="1ff7c7cd-9b81-493f-98df-a7ef93c9722a" providerId="ADAL" clId="{9C2CD15A-BF2A-4B68-A950-39FF3EC9A6CF}" dt="2022-01-12T15:18:13.328" v="1051" actId="47"/>
        <pc:sldMasterMkLst>
          <pc:docMk/>
          <pc:sldMasterMk cId="0" sldId="2147483671"/>
        </pc:sldMasterMkLst>
        <pc:sldLayoutChg chg="del">
          <pc:chgData name="Harizaj, Adora" userId="1ff7c7cd-9b81-493f-98df-a7ef93c9722a" providerId="ADAL" clId="{9C2CD15A-BF2A-4B68-A950-39FF3EC9A6CF}" dt="2022-01-12T15:18:13.328" v="1051" actId="47"/>
          <pc:sldLayoutMkLst>
            <pc:docMk/>
            <pc:sldMasterMk cId="0" sldId="2147483671"/>
            <pc:sldLayoutMk cId="3297633305" sldId="2147483696"/>
          </pc:sldLayoutMkLst>
        </pc:sldLayoutChg>
        <pc:sldLayoutChg chg="del">
          <pc:chgData name="Harizaj, Adora" userId="1ff7c7cd-9b81-493f-98df-a7ef93c9722a" providerId="ADAL" clId="{9C2CD15A-BF2A-4B68-A950-39FF3EC9A6CF}" dt="2022-01-07T16:53:51.134" v="3" actId="47"/>
          <pc:sldLayoutMkLst>
            <pc:docMk/>
            <pc:sldMasterMk cId="0" sldId="2147483671"/>
            <pc:sldLayoutMk cId="2579582669" sldId="2147483697"/>
          </pc:sldLayoutMkLst>
        </pc:sldLayoutChg>
      </pc:sldMasterChg>
    </pc:docChg>
  </pc:docChgLst>
  <pc:docChgLst>
    <pc:chgData name="Leung, Vivian" userId="932eb906-138c-4f55-8368-067b1449c5e4" providerId="ADAL" clId="{6058DE7A-336C-4B8C-BCDA-1D2324E1173E}"/>
    <pc:docChg chg="undo custSel addSld delSld modSld sldOrd">
      <pc:chgData name="Leung, Vivian" userId="932eb906-138c-4f55-8368-067b1449c5e4" providerId="ADAL" clId="{6058DE7A-336C-4B8C-BCDA-1D2324E1173E}" dt="2022-01-11T23:10:51.029" v="1778" actId="20577"/>
      <pc:docMkLst>
        <pc:docMk/>
      </pc:docMkLst>
      <pc:sldChg chg="addSp modSp mod addCm modCm">
        <pc:chgData name="Leung, Vivian" userId="932eb906-138c-4f55-8368-067b1449c5e4" providerId="ADAL" clId="{6058DE7A-336C-4B8C-BCDA-1D2324E1173E}" dt="2022-01-11T22:57:09.422" v="949" actId="14"/>
        <pc:sldMkLst>
          <pc:docMk/>
          <pc:sldMk cId="4160238306" sldId="2145707452"/>
        </pc:sldMkLst>
        <pc:spChg chg="mod">
          <ac:chgData name="Leung, Vivian" userId="932eb906-138c-4f55-8368-067b1449c5e4" providerId="ADAL" clId="{6058DE7A-336C-4B8C-BCDA-1D2324E1173E}" dt="2022-01-11T22:57:09.422" v="949" actId="14"/>
          <ac:spMkLst>
            <pc:docMk/>
            <pc:sldMk cId="4160238306" sldId="2145707452"/>
            <ac:spMk id="4" creationId="{31CF8ABA-B106-4528-A9B2-D390C80D6E0E}"/>
          </ac:spMkLst>
        </pc:spChg>
        <pc:spChg chg="mod">
          <ac:chgData name="Leung, Vivian" userId="932eb906-138c-4f55-8368-067b1449c5e4" providerId="ADAL" clId="{6058DE7A-336C-4B8C-BCDA-1D2324E1173E}" dt="2022-01-11T22:56:18.405" v="939" actId="14100"/>
          <ac:spMkLst>
            <pc:docMk/>
            <pc:sldMk cId="4160238306" sldId="2145707452"/>
            <ac:spMk id="6" creationId="{F91BA110-1303-458D-8071-B02E1F494324}"/>
          </ac:spMkLst>
        </pc:spChg>
        <pc:spChg chg="add mod">
          <ac:chgData name="Leung, Vivian" userId="932eb906-138c-4f55-8368-067b1449c5e4" providerId="ADAL" clId="{6058DE7A-336C-4B8C-BCDA-1D2324E1173E}" dt="2022-01-11T22:56:46.206" v="943" actId="14100"/>
          <ac:spMkLst>
            <pc:docMk/>
            <pc:sldMk cId="4160238306" sldId="2145707452"/>
            <ac:spMk id="7" creationId="{306A58A2-73A7-484A-A82B-16C1D91D7096}"/>
          </ac:spMkLst>
        </pc:spChg>
        <pc:picChg chg="mod modCrop">
          <ac:chgData name="Leung, Vivian" userId="932eb906-138c-4f55-8368-067b1449c5e4" providerId="ADAL" clId="{6058DE7A-336C-4B8C-BCDA-1D2324E1173E}" dt="2022-01-11T22:55:53.255" v="936" actId="1076"/>
          <ac:picMkLst>
            <pc:docMk/>
            <pc:sldMk cId="4160238306" sldId="2145707452"/>
            <ac:picMk id="5" creationId="{A09E0461-793B-4DD3-8F99-47F7B8DC686D}"/>
          </ac:picMkLst>
        </pc:picChg>
      </pc:sldChg>
      <pc:sldChg chg="modSp mod">
        <pc:chgData name="Leung, Vivian" userId="932eb906-138c-4f55-8368-067b1449c5e4" providerId="ADAL" clId="{6058DE7A-336C-4B8C-BCDA-1D2324E1173E}" dt="2022-01-11T22:29:39.116" v="59" actId="20577"/>
        <pc:sldMkLst>
          <pc:docMk/>
          <pc:sldMk cId="1779706480" sldId="2145707453"/>
        </pc:sldMkLst>
        <pc:spChg chg="mod">
          <ac:chgData name="Leung, Vivian" userId="932eb906-138c-4f55-8368-067b1449c5e4" providerId="ADAL" clId="{6058DE7A-336C-4B8C-BCDA-1D2324E1173E}" dt="2022-01-11T22:29:39.116" v="59" actId="20577"/>
          <ac:spMkLst>
            <pc:docMk/>
            <pc:sldMk cId="1779706480" sldId="2145707453"/>
            <ac:spMk id="4" creationId="{31CF8ABA-B106-4528-A9B2-D390C80D6E0E}"/>
          </ac:spMkLst>
        </pc:spChg>
      </pc:sldChg>
      <pc:sldChg chg="modSp mod">
        <pc:chgData name="Leung, Vivian" userId="932eb906-138c-4f55-8368-067b1449c5e4" providerId="ADAL" clId="{6058DE7A-336C-4B8C-BCDA-1D2324E1173E}" dt="2022-01-11T22:46:18.759" v="920" actId="113"/>
        <pc:sldMkLst>
          <pc:docMk/>
          <pc:sldMk cId="2418765694" sldId="2145707457"/>
        </pc:sldMkLst>
        <pc:spChg chg="mod">
          <ac:chgData name="Leung, Vivian" userId="932eb906-138c-4f55-8368-067b1449c5e4" providerId="ADAL" clId="{6058DE7A-336C-4B8C-BCDA-1D2324E1173E}" dt="2022-01-11T22:46:18.759" v="920" actId="113"/>
          <ac:spMkLst>
            <pc:docMk/>
            <pc:sldMk cId="2418765694" sldId="2145707457"/>
            <ac:spMk id="4" creationId="{31CF8ABA-B106-4528-A9B2-D390C80D6E0E}"/>
          </ac:spMkLst>
        </pc:spChg>
      </pc:sldChg>
      <pc:sldChg chg="del">
        <pc:chgData name="Leung, Vivian" userId="932eb906-138c-4f55-8368-067b1449c5e4" providerId="ADAL" clId="{6058DE7A-336C-4B8C-BCDA-1D2324E1173E}" dt="2022-01-11T22:46:31.152" v="921" actId="47"/>
        <pc:sldMkLst>
          <pc:docMk/>
          <pc:sldMk cId="2806812843" sldId="2145707458"/>
        </pc:sldMkLst>
      </pc:sldChg>
      <pc:sldChg chg="modSp mod">
        <pc:chgData name="Leung, Vivian" userId="932eb906-138c-4f55-8368-067b1449c5e4" providerId="ADAL" clId="{6058DE7A-336C-4B8C-BCDA-1D2324E1173E}" dt="2022-01-11T22:57:38.334" v="968" actId="20577"/>
        <pc:sldMkLst>
          <pc:docMk/>
          <pc:sldMk cId="2106020125" sldId="2145707463"/>
        </pc:sldMkLst>
        <pc:spChg chg="mod">
          <ac:chgData name="Leung, Vivian" userId="932eb906-138c-4f55-8368-067b1449c5e4" providerId="ADAL" clId="{6058DE7A-336C-4B8C-BCDA-1D2324E1173E}" dt="2022-01-11T22:57:38.334" v="968" actId="20577"/>
          <ac:spMkLst>
            <pc:docMk/>
            <pc:sldMk cId="2106020125" sldId="2145707463"/>
            <ac:spMk id="2" creationId="{3E470158-74FF-487C-9CC0-3F540D99DF81}"/>
          </ac:spMkLst>
        </pc:spChg>
      </pc:sldChg>
      <pc:sldChg chg="modSp add mod ord">
        <pc:chgData name="Leung, Vivian" userId="932eb906-138c-4f55-8368-067b1449c5e4" providerId="ADAL" clId="{6058DE7A-336C-4B8C-BCDA-1D2324E1173E}" dt="2022-01-11T22:30:20.113" v="70" actId="20577"/>
        <pc:sldMkLst>
          <pc:docMk/>
          <pc:sldMk cId="2821115675" sldId="2145707467"/>
        </pc:sldMkLst>
        <pc:spChg chg="mod">
          <ac:chgData name="Leung, Vivian" userId="932eb906-138c-4f55-8368-067b1449c5e4" providerId="ADAL" clId="{6058DE7A-336C-4B8C-BCDA-1D2324E1173E}" dt="2022-01-11T22:30:20.113" v="70" actId="20577"/>
          <ac:spMkLst>
            <pc:docMk/>
            <pc:sldMk cId="2821115675" sldId="2145707467"/>
            <ac:spMk id="3" creationId="{C13739AA-DDA2-4E28-A299-11A52E09ECEF}"/>
          </ac:spMkLst>
        </pc:spChg>
      </pc:sldChg>
      <pc:sldChg chg="new del">
        <pc:chgData name="Leung, Vivian" userId="932eb906-138c-4f55-8368-067b1449c5e4" providerId="ADAL" clId="{6058DE7A-336C-4B8C-BCDA-1D2324E1173E}" dt="2022-01-11T22:29:56.791" v="61" actId="680"/>
        <pc:sldMkLst>
          <pc:docMk/>
          <pc:sldMk cId="3419142978" sldId="2145707467"/>
        </pc:sldMkLst>
      </pc:sldChg>
      <pc:sldChg chg="modSp add mod">
        <pc:chgData name="Leung, Vivian" userId="932eb906-138c-4f55-8368-067b1449c5e4" providerId="ADAL" clId="{6058DE7A-336C-4B8C-BCDA-1D2324E1173E}" dt="2022-01-11T23:10:51.029" v="1778" actId="20577"/>
        <pc:sldMkLst>
          <pc:docMk/>
          <pc:sldMk cId="1477090336" sldId="2145707468"/>
        </pc:sldMkLst>
        <pc:spChg chg="mod">
          <ac:chgData name="Leung, Vivian" userId="932eb906-138c-4f55-8368-067b1449c5e4" providerId="ADAL" clId="{6058DE7A-336C-4B8C-BCDA-1D2324E1173E}" dt="2022-01-11T22:31:13.789" v="113" actId="20577"/>
          <ac:spMkLst>
            <pc:docMk/>
            <pc:sldMk cId="1477090336" sldId="2145707468"/>
            <ac:spMk id="3" creationId="{C13739AA-DDA2-4E28-A299-11A52E09ECEF}"/>
          </ac:spMkLst>
        </pc:spChg>
        <pc:spChg chg="mod">
          <ac:chgData name="Leung, Vivian" userId="932eb906-138c-4f55-8368-067b1449c5e4" providerId="ADAL" clId="{6058DE7A-336C-4B8C-BCDA-1D2324E1173E}" dt="2022-01-11T23:10:51.029" v="1778" actId="20577"/>
          <ac:spMkLst>
            <pc:docMk/>
            <pc:sldMk cId="1477090336" sldId="2145707468"/>
            <ac:spMk id="4" creationId="{31CF8ABA-B106-4528-A9B2-D390C80D6E0E}"/>
          </ac:spMkLst>
        </pc:spChg>
      </pc:sldChg>
      <pc:sldChg chg="modSp add mod">
        <pc:chgData name="Leung, Vivian" userId="932eb906-138c-4f55-8368-067b1449c5e4" providerId="ADAL" clId="{6058DE7A-336C-4B8C-BCDA-1D2324E1173E}" dt="2022-01-11T22:43:18.537" v="688" actId="20577"/>
        <pc:sldMkLst>
          <pc:docMk/>
          <pc:sldMk cId="1249112917" sldId="2145707469"/>
        </pc:sldMkLst>
        <pc:spChg chg="mod">
          <ac:chgData name="Leung, Vivian" userId="932eb906-138c-4f55-8368-067b1449c5e4" providerId="ADAL" clId="{6058DE7A-336C-4B8C-BCDA-1D2324E1173E}" dt="2022-01-11T22:43:01.906" v="630" actId="14100"/>
          <ac:spMkLst>
            <pc:docMk/>
            <pc:sldMk cId="1249112917" sldId="2145707469"/>
            <ac:spMk id="3" creationId="{C13739AA-DDA2-4E28-A299-11A52E09ECEF}"/>
          </ac:spMkLst>
        </pc:spChg>
        <pc:spChg chg="mod">
          <ac:chgData name="Leung, Vivian" userId="932eb906-138c-4f55-8368-067b1449c5e4" providerId="ADAL" clId="{6058DE7A-336C-4B8C-BCDA-1D2324E1173E}" dt="2022-01-11T22:43:18.537" v="688" actId="20577"/>
          <ac:spMkLst>
            <pc:docMk/>
            <pc:sldMk cId="1249112917" sldId="2145707469"/>
            <ac:spMk id="4" creationId="{31CF8ABA-B106-4528-A9B2-D390C80D6E0E}"/>
          </ac:spMkLst>
        </pc:spChg>
      </pc:sldChg>
      <pc:sldChg chg="new del ord">
        <pc:chgData name="Leung, Vivian" userId="932eb906-138c-4f55-8368-067b1449c5e4" providerId="ADAL" clId="{6058DE7A-336C-4B8C-BCDA-1D2324E1173E}" dt="2022-01-11T22:39:13.121" v="148" actId="47"/>
        <pc:sldMkLst>
          <pc:docMk/>
          <pc:sldMk cId="2982020104" sldId="2145707469"/>
        </pc:sldMkLst>
      </pc:sldChg>
    </pc:docChg>
  </pc:docChgLst>
  <pc:docChgLst>
    <pc:chgData name="Leung, Vivian" userId="S::vivian.leung@ct.gov::932eb906-138c-4f55-8368-067b1449c5e4" providerId="AD" clId="Web-{B232CD7E-9BDD-E146-2EC0-E9293048853D}"/>
    <pc:docChg chg="addSld delSld modSld">
      <pc:chgData name="Leung, Vivian" userId="S::vivian.leung@ct.gov::932eb906-138c-4f55-8368-067b1449c5e4" providerId="AD" clId="Web-{B232CD7E-9BDD-E146-2EC0-E9293048853D}" dt="2022-01-11T22:22:08.885" v="1750" actId="1076"/>
      <pc:docMkLst>
        <pc:docMk/>
      </pc:docMkLst>
      <pc:sldChg chg="addCm">
        <pc:chgData name="Leung, Vivian" userId="S::vivian.leung@ct.gov::932eb906-138c-4f55-8368-067b1449c5e4" providerId="AD" clId="Web-{B232CD7E-9BDD-E146-2EC0-E9293048853D}" dt="2022-01-11T22:04:37.479" v="1534"/>
        <pc:sldMkLst>
          <pc:docMk/>
          <pc:sldMk cId="4160238306" sldId="2145707452"/>
        </pc:sldMkLst>
      </pc:sldChg>
      <pc:sldChg chg="modSp addCm">
        <pc:chgData name="Leung, Vivian" userId="S::vivian.leung@ct.gov::932eb906-138c-4f55-8368-067b1449c5e4" providerId="AD" clId="Web-{B232CD7E-9BDD-E146-2EC0-E9293048853D}" dt="2022-01-11T22:09:45.608" v="1608" actId="20577"/>
        <pc:sldMkLst>
          <pc:docMk/>
          <pc:sldMk cId="1779706480" sldId="2145707453"/>
        </pc:sldMkLst>
        <pc:spChg chg="mod">
          <ac:chgData name="Leung, Vivian" userId="S::vivian.leung@ct.gov::932eb906-138c-4f55-8368-067b1449c5e4" providerId="AD" clId="Web-{B232CD7E-9BDD-E146-2EC0-E9293048853D}" dt="2022-01-11T22:09:40.874" v="1605" actId="14100"/>
          <ac:spMkLst>
            <pc:docMk/>
            <pc:sldMk cId="1779706480" sldId="2145707453"/>
            <ac:spMk id="3" creationId="{C13739AA-DDA2-4E28-A299-11A52E09ECEF}"/>
          </ac:spMkLst>
        </pc:spChg>
        <pc:spChg chg="mod">
          <ac:chgData name="Leung, Vivian" userId="S::vivian.leung@ct.gov::932eb906-138c-4f55-8368-067b1449c5e4" providerId="AD" clId="Web-{B232CD7E-9BDD-E146-2EC0-E9293048853D}" dt="2022-01-11T22:09:45.608" v="1608" actId="20577"/>
          <ac:spMkLst>
            <pc:docMk/>
            <pc:sldMk cId="1779706480" sldId="2145707453"/>
            <ac:spMk id="4" creationId="{31CF8ABA-B106-4528-A9B2-D390C80D6E0E}"/>
          </ac:spMkLst>
        </pc:spChg>
      </pc:sldChg>
      <pc:sldChg chg="del addCm">
        <pc:chgData name="Leung, Vivian" userId="S::vivian.leung@ct.gov::932eb906-138c-4f55-8368-067b1449c5e4" providerId="AD" clId="Web-{B232CD7E-9BDD-E146-2EC0-E9293048853D}" dt="2022-01-11T21:18:16.858" v="532"/>
        <pc:sldMkLst>
          <pc:docMk/>
          <pc:sldMk cId="1869829873" sldId="2145707454"/>
        </pc:sldMkLst>
      </pc:sldChg>
      <pc:sldChg chg="addSp delSp modSp">
        <pc:chgData name="Leung, Vivian" userId="S::vivian.leung@ct.gov::932eb906-138c-4f55-8368-067b1449c5e4" providerId="AD" clId="Web-{B232CD7E-9BDD-E146-2EC0-E9293048853D}" dt="2022-01-11T22:22:08.885" v="1750" actId="1076"/>
        <pc:sldMkLst>
          <pc:docMk/>
          <pc:sldMk cId="1859567710" sldId="2145707455"/>
        </pc:sldMkLst>
        <pc:spChg chg="add mod ord">
          <ac:chgData name="Leung, Vivian" userId="S::vivian.leung@ct.gov::932eb906-138c-4f55-8368-067b1449c5e4" providerId="AD" clId="Web-{B232CD7E-9BDD-E146-2EC0-E9293048853D}" dt="2022-01-11T22:22:08.885" v="1750" actId="1076"/>
          <ac:spMkLst>
            <pc:docMk/>
            <pc:sldMk cId="1859567710" sldId="2145707455"/>
            <ac:spMk id="2" creationId="{D3628893-FAC6-40A0-9BC0-9886C0A0CD80}"/>
          </ac:spMkLst>
        </pc:spChg>
        <pc:spChg chg="del mod">
          <ac:chgData name="Leung, Vivian" userId="S::vivian.leung@ct.gov::932eb906-138c-4f55-8368-067b1449c5e4" providerId="AD" clId="Web-{B232CD7E-9BDD-E146-2EC0-E9293048853D}" dt="2022-01-11T22:13:52.097" v="1649"/>
          <ac:spMkLst>
            <pc:docMk/>
            <pc:sldMk cId="1859567710" sldId="2145707455"/>
            <ac:spMk id="6" creationId="{2D86C3D9-3703-4958-B40E-58E53C5A6E73}"/>
          </ac:spMkLst>
        </pc:spChg>
        <pc:spChg chg="add mod">
          <ac:chgData name="Leung, Vivian" userId="S::vivian.leung@ct.gov::932eb906-138c-4f55-8368-067b1449c5e4" providerId="AD" clId="Web-{B232CD7E-9BDD-E146-2EC0-E9293048853D}" dt="2022-01-11T22:22:06.229" v="1749" actId="1076"/>
          <ac:spMkLst>
            <pc:docMk/>
            <pc:sldMk cId="1859567710" sldId="2145707455"/>
            <ac:spMk id="8" creationId="{E12013B5-A057-4BE5-BBC7-312DDF560793}"/>
          </ac:spMkLst>
        </pc:spChg>
        <pc:picChg chg="del mod">
          <ac:chgData name="Leung, Vivian" userId="S::vivian.leung@ct.gov::932eb906-138c-4f55-8368-067b1449c5e4" providerId="AD" clId="Web-{B232CD7E-9BDD-E146-2EC0-E9293048853D}" dt="2022-01-11T22:12:31.783" v="1609"/>
          <ac:picMkLst>
            <pc:docMk/>
            <pc:sldMk cId="1859567710" sldId="2145707455"/>
            <ac:picMk id="5" creationId="{9E3BE859-2C58-468C-BCC6-34531F869F07}"/>
          </ac:picMkLst>
        </pc:picChg>
        <pc:picChg chg="add mod">
          <ac:chgData name="Leung, Vivian" userId="S::vivian.leung@ct.gov::932eb906-138c-4f55-8368-067b1449c5e4" providerId="AD" clId="Web-{B232CD7E-9BDD-E146-2EC0-E9293048853D}" dt="2022-01-11T22:13:23.331" v="1636" actId="14100"/>
          <ac:picMkLst>
            <pc:docMk/>
            <pc:sldMk cId="1859567710" sldId="2145707455"/>
            <ac:picMk id="7" creationId="{FF615BB6-7D35-4EDD-8E5C-363AEAECCFFD}"/>
          </ac:picMkLst>
        </pc:picChg>
      </pc:sldChg>
      <pc:sldChg chg="new del">
        <pc:chgData name="Leung, Vivian" userId="S::vivian.leung@ct.gov::932eb906-138c-4f55-8368-067b1449c5e4" providerId="AD" clId="Web-{B232CD7E-9BDD-E146-2EC0-E9293048853D}" dt="2022-01-11T19:57:01.294" v="188"/>
        <pc:sldMkLst>
          <pc:docMk/>
          <pc:sldMk cId="1887237208" sldId="2145707456"/>
        </pc:sldMkLst>
      </pc:sldChg>
      <pc:sldChg chg="modSp add replId">
        <pc:chgData name="Leung, Vivian" userId="S::vivian.leung@ct.gov::932eb906-138c-4f55-8368-067b1449c5e4" providerId="AD" clId="Web-{B232CD7E-9BDD-E146-2EC0-E9293048853D}" dt="2022-01-11T21:37:53.361" v="761" actId="20577"/>
        <pc:sldMkLst>
          <pc:docMk/>
          <pc:sldMk cId="4235511926" sldId="2145707456"/>
        </pc:sldMkLst>
        <pc:spChg chg="mod">
          <ac:chgData name="Leung, Vivian" userId="S::vivian.leung@ct.gov::932eb906-138c-4f55-8368-067b1449c5e4" providerId="AD" clId="Web-{B232CD7E-9BDD-E146-2EC0-E9293048853D}" dt="2022-01-11T19:57:25.373" v="209" actId="20577"/>
          <ac:spMkLst>
            <pc:docMk/>
            <pc:sldMk cId="4235511926" sldId="2145707456"/>
            <ac:spMk id="3" creationId="{C13739AA-DDA2-4E28-A299-11A52E09ECEF}"/>
          </ac:spMkLst>
        </pc:spChg>
        <pc:spChg chg="mod">
          <ac:chgData name="Leung, Vivian" userId="S::vivian.leung@ct.gov::932eb906-138c-4f55-8368-067b1449c5e4" providerId="AD" clId="Web-{B232CD7E-9BDD-E146-2EC0-E9293048853D}" dt="2022-01-11T21:37:53.361" v="761" actId="20577"/>
          <ac:spMkLst>
            <pc:docMk/>
            <pc:sldMk cId="4235511926" sldId="2145707456"/>
            <ac:spMk id="4" creationId="{31CF8ABA-B106-4528-A9B2-D390C80D6E0E}"/>
          </ac:spMkLst>
        </pc:spChg>
      </pc:sldChg>
      <pc:sldChg chg="modSp add replId">
        <pc:chgData name="Leung, Vivian" userId="S::vivian.leung@ct.gov::932eb906-138c-4f55-8368-067b1449c5e4" providerId="AD" clId="Web-{B232CD7E-9BDD-E146-2EC0-E9293048853D}" dt="2022-01-11T22:05:57.027" v="1538" actId="20577"/>
        <pc:sldMkLst>
          <pc:docMk/>
          <pc:sldMk cId="2418765694" sldId="2145707457"/>
        </pc:sldMkLst>
        <pc:spChg chg="mod">
          <ac:chgData name="Leung, Vivian" userId="S::vivian.leung@ct.gov::932eb906-138c-4f55-8368-067b1449c5e4" providerId="AD" clId="Web-{B232CD7E-9BDD-E146-2EC0-E9293048853D}" dt="2022-01-11T22:02:04.383" v="1470" actId="20577"/>
          <ac:spMkLst>
            <pc:docMk/>
            <pc:sldMk cId="2418765694" sldId="2145707457"/>
            <ac:spMk id="3" creationId="{C13739AA-DDA2-4E28-A299-11A52E09ECEF}"/>
          </ac:spMkLst>
        </pc:spChg>
        <pc:spChg chg="mod">
          <ac:chgData name="Leung, Vivian" userId="S::vivian.leung@ct.gov::932eb906-138c-4f55-8368-067b1449c5e4" providerId="AD" clId="Web-{B232CD7E-9BDD-E146-2EC0-E9293048853D}" dt="2022-01-11T22:05:57.027" v="1538" actId="20577"/>
          <ac:spMkLst>
            <pc:docMk/>
            <pc:sldMk cId="2418765694" sldId="2145707457"/>
            <ac:spMk id="4" creationId="{31CF8ABA-B106-4528-A9B2-D390C80D6E0E}"/>
          </ac:spMkLst>
        </pc:spChg>
      </pc:sldChg>
      <pc:sldChg chg="add replId">
        <pc:chgData name="Leung, Vivian" userId="S::vivian.leung@ct.gov::932eb906-138c-4f55-8368-067b1449c5e4" providerId="AD" clId="Web-{B232CD7E-9BDD-E146-2EC0-E9293048853D}" dt="2022-01-11T21:20:04.688" v="533"/>
        <pc:sldMkLst>
          <pc:docMk/>
          <pc:sldMk cId="2806812843" sldId="2145707458"/>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16B69A2-FF0D-4D43-8C96-C135B74E622C}" type="doc">
      <dgm:prSet loTypeId="urn:microsoft.com/office/officeart/2005/8/layout/hProcess3" loCatId="process" qsTypeId="urn:microsoft.com/office/officeart/2005/8/quickstyle/simple1" qsCatId="simple" csTypeId="urn:microsoft.com/office/officeart/2005/8/colors/accent1_2" csCatId="accent1" phldr="1"/>
      <dgm:spPr/>
    </dgm:pt>
    <dgm:pt modelId="{CA3E87D9-6FAF-4D85-9573-4C2B2EE3048F}">
      <dgm:prSet phldrT="[Text]"/>
      <dgm:spPr/>
      <dgm:t>
        <a:bodyPr/>
        <a:lstStyle/>
        <a:p>
          <a:r>
            <a:rPr lang="en-US" dirty="0" smtClean="0"/>
            <a:t>2018</a:t>
          </a:r>
        </a:p>
        <a:p>
          <a:r>
            <a:rPr lang="en-US" dirty="0" smtClean="0"/>
            <a:t>Lean</a:t>
          </a:r>
          <a:endParaRPr lang="en-US" dirty="0"/>
        </a:p>
      </dgm:t>
    </dgm:pt>
    <dgm:pt modelId="{9AE9B3D9-7EC2-40B1-B835-B420B99D4DE0}" type="parTrans" cxnId="{B0F2CA08-B4D9-4AA4-AAEE-AB13A536C7C4}">
      <dgm:prSet/>
      <dgm:spPr/>
      <dgm:t>
        <a:bodyPr/>
        <a:lstStyle/>
        <a:p>
          <a:endParaRPr lang="en-US"/>
        </a:p>
      </dgm:t>
    </dgm:pt>
    <dgm:pt modelId="{6AD072FD-4086-49A3-BAF2-53A10673D446}" type="sibTrans" cxnId="{B0F2CA08-B4D9-4AA4-AAEE-AB13A536C7C4}">
      <dgm:prSet/>
      <dgm:spPr/>
      <dgm:t>
        <a:bodyPr/>
        <a:lstStyle/>
        <a:p>
          <a:endParaRPr lang="en-US"/>
        </a:p>
      </dgm:t>
    </dgm:pt>
    <dgm:pt modelId="{FC003933-5681-4C4E-8D94-F6197C1CEBCB}">
      <dgm:prSet phldrT="[Text]"/>
      <dgm:spPr/>
      <dgm:t>
        <a:bodyPr/>
        <a:lstStyle/>
        <a:p>
          <a:r>
            <a:rPr lang="en-US" dirty="0" smtClean="0"/>
            <a:t>2019</a:t>
          </a:r>
        </a:p>
        <a:p>
          <a:r>
            <a:rPr lang="en-US" dirty="0" smtClean="0"/>
            <a:t>Active Prep</a:t>
          </a:r>
          <a:endParaRPr lang="en-US" dirty="0"/>
        </a:p>
      </dgm:t>
    </dgm:pt>
    <dgm:pt modelId="{3FAD3A83-1BA3-44C9-81A6-53682E4D4CE0}" type="parTrans" cxnId="{6D8740B4-CD6B-4E8A-BE8A-FE5D314998E1}">
      <dgm:prSet/>
      <dgm:spPr/>
      <dgm:t>
        <a:bodyPr/>
        <a:lstStyle/>
        <a:p>
          <a:endParaRPr lang="en-US"/>
        </a:p>
      </dgm:t>
    </dgm:pt>
    <dgm:pt modelId="{7921B780-D81C-479F-A798-363329AA40A5}" type="sibTrans" cxnId="{6D8740B4-CD6B-4E8A-BE8A-FE5D314998E1}">
      <dgm:prSet/>
      <dgm:spPr/>
      <dgm:t>
        <a:bodyPr/>
        <a:lstStyle/>
        <a:p>
          <a:endParaRPr lang="en-US"/>
        </a:p>
      </dgm:t>
    </dgm:pt>
    <dgm:pt modelId="{398E1454-D50F-4D66-B851-77315280EF68}">
      <dgm:prSet phldrT="[Text]"/>
      <dgm:spPr/>
      <dgm:t>
        <a:bodyPr/>
        <a:lstStyle/>
        <a:p>
          <a:r>
            <a:rPr lang="en-US" dirty="0" smtClean="0"/>
            <a:t>2020-2021</a:t>
          </a:r>
        </a:p>
        <a:p>
          <a:r>
            <a:rPr lang="en-US" dirty="0" smtClean="0"/>
            <a:t>Work Continued Despite COVID</a:t>
          </a:r>
          <a:endParaRPr lang="en-US" dirty="0"/>
        </a:p>
      </dgm:t>
    </dgm:pt>
    <dgm:pt modelId="{0600C825-8C20-42B8-AA4F-33AFDB50F383}" type="parTrans" cxnId="{8D323BC8-FC7B-4AD7-A870-9FF13591A183}">
      <dgm:prSet/>
      <dgm:spPr/>
      <dgm:t>
        <a:bodyPr/>
        <a:lstStyle/>
        <a:p>
          <a:endParaRPr lang="en-US"/>
        </a:p>
      </dgm:t>
    </dgm:pt>
    <dgm:pt modelId="{B0034A40-38FE-4304-8747-5DEF637DEB97}" type="sibTrans" cxnId="{8D323BC8-FC7B-4AD7-A870-9FF13591A183}">
      <dgm:prSet/>
      <dgm:spPr/>
      <dgm:t>
        <a:bodyPr/>
        <a:lstStyle/>
        <a:p>
          <a:endParaRPr lang="en-US"/>
        </a:p>
      </dgm:t>
    </dgm:pt>
    <dgm:pt modelId="{DE40AFF7-2BFB-450A-9498-8ABFC6DA1512}" type="pres">
      <dgm:prSet presAssocID="{516B69A2-FF0D-4D43-8C96-C135B74E622C}" presName="Name0" presStyleCnt="0">
        <dgm:presLayoutVars>
          <dgm:dir/>
          <dgm:animLvl val="lvl"/>
          <dgm:resizeHandles val="exact"/>
        </dgm:presLayoutVars>
      </dgm:prSet>
      <dgm:spPr/>
    </dgm:pt>
    <dgm:pt modelId="{9CE02413-726D-4BAE-B2D0-C3F391C6A5A5}" type="pres">
      <dgm:prSet presAssocID="{516B69A2-FF0D-4D43-8C96-C135B74E622C}" presName="dummy" presStyleCnt="0"/>
      <dgm:spPr/>
    </dgm:pt>
    <dgm:pt modelId="{A7DCC675-CB92-41DC-80C4-BB4E1CC49157}" type="pres">
      <dgm:prSet presAssocID="{516B69A2-FF0D-4D43-8C96-C135B74E622C}" presName="linH" presStyleCnt="0"/>
      <dgm:spPr/>
    </dgm:pt>
    <dgm:pt modelId="{5F88218D-DA37-4A0A-B50A-5AE61E10F99A}" type="pres">
      <dgm:prSet presAssocID="{516B69A2-FF0D-4D43-8C96-C135B74E622C}" presName="padding1" presStyleCnt="0"/>
      <dgm:spPr/>
    </dgm:pt>
    <dgm:pt modelId="{E1B60EA0-D4D2-48A8-BA8B-C54A8E9F8972}" type="pres">
      <dgm:prSet presAssocID="{CA3E87D9-6FAF-4D85-9573-4C2B2EE3048F}" presName="linV" presStyleCnt="0"/>
      <dgm:spPr/>
    </dgm:pt>
    <dgm:pt modelId="{C6A208A3-EABE-41CD-8306-8F50576BE742}" type="pres">
      <dgm:prSet presAssocID="{CA3E87D9-6FAF-4D85-9573-4C2B2EE3048F}" presName="spVertical1" presStyleCnt="0"/>
      <dgm:spPr/>
    </dgm:pt>
    <dgm:pt modelId="{85ACDE80-2E57-4850-98AD-24F257528C53}" type="pres">
      <dgm:prSet presAssocID="{CA3E87D9-6FAF-4D85-9573-4C2B2EE3048F}" presName="parTx" presStyleLbl="revTx" presStyleIdx="0" presStyleCnt="3">
        <dgm:presLayoutVars>
          <dgm:chMax val="0"/>
          <dgm:chPref val="0"/>
          <dgm:bulletEnabled val="1"/>
        </dgm:presLayoutVars>
      </dgm:prSet>
      <dgm:spPr/>
      <dgm:t>
        <a:bodyPr/>
        <a:lstStyle/>
        <a:p>
          <a:endParaRPr lang="en-US"/>
        </a:p>
      </dgm:t>
    </dgm:pt>
    <dgm:pt modelId="{E095E403-B724-40D7-911E-594F89DD69A0}" type="pres">
      <dgm:prSet presAssocID="{CA3E87D9-6FAF-4D85-9573-4C2B2EE3048F}" presName="spVertical2" presStyleCnt="0"/>
      <dgm:spPr/>
    </dgm:pt>
    <dgm:pt modelId="{4DCCCC58-2DA0-405D-8F4E-7EB680A76CD1}" type="pres">
      <dgm:prSet presAssocID="{CA3E87D9-6FAF-4D85-9573-4C2B2EE3048F}" presName="spVertical3" presStyleCnt="0"/>
      <dgm:spPr/>
    </dgm:pt>
    <dgm:pt modelId="{53AB7308-9A78-420E-ABA7-7053F2521851}" type="pres">
      <dgm:prSet presAssocID="{6AD072FD-4086-49A3-BAF2-53A10673D446}" presName="space" presStyleCnt="0"/>
      <dgm:spPr/>
    </dgm:pt>
    <dgm:pt modelId="{ACBC7AF6-9AB0-4880-BB31-E559BBED97F5}" type="pres">
      <dgm:prSet presAssocID="{FC003933-5681-4C4E-8D94-F6197C1CEBCB}" presName="linV" presStyleCnt="0"/>
      <dgm:spPr/>
    </dgm:pt>
    <dgm:pt modelId="{AE41E6F7-A609-4DF6-833B-B9D860A66B93}" type="pres">
      <dgm:prSet presAssocID="{FC003933-5681-4C4E-8D94-F6197C1CEBCB}" presName="spVertical1" presStyleCnt="0"/>
      <dgm:spPr/>
    </dgm:pt>
    <dgm:pt modelId="{A6225FC0-1453-4E6E-9339-9E009DDA84BF}" type="pres">
      <dgm:prSet presAssocID="{FC003933-5681-4C4E-8D94-F6197C1CEBCB}" presName="parTx" presStyleLbl="revTx" presStyleIdx="1" presStyleCnt="3">
        <dgm:presLayoutVars>
          <dgm:chMax val="0"/>
          <dgm:chPref val="0"/>
          <dgm:bulletEnabled val="1"/>
        </dgm:presLayoutVars>
      </dgm:prSet>
      <dgm:spPr/>
      <dgm:t>
        <a:bodyPr/>
        <a:lstStyle/>
        <a:p>
          <a:endParaRPr lang="en-US"/>
        </a:p>
      </dgm:t>
    </dgm:pt>
    <dgm:pt modelId="{E1EE587A-4AC3-479A-B546-03820539CC7A}" type="pres">
      <dgm:prSet presAssocID="{FC003933-5681-4C4E-8D94-F6197C1CEBCB}" presName="spVertical2" presStyleCnt="0"/>
      <dgm:spPr/>
    </dgm:pt>
    <dgm:pt modelId="{36DB5C1C-08C8-4E52-BB15-02B54DF2D3F3}" type="pres">
      <dgm:prSet presAssocID="{FC003933-5681-4C4E-8D94-F6197C1CEBCB}" presName="spVertical3" presStyleCnt="0"/>
      <dgm:spPr/>
    </dgm:pt>
    <dgm:pt modelId="{BE732C21-695E-457D-85E8-D4A8B05C248E}" type="pres">
      <dgm:prSet presAssocID="{7921B780-D81C-479F-A798-363329AA40A5}" presName="space" presStyleCnt="0"/>
      <dgm:spPr/>
    </dgm:pt>
    <dgm:pt modelId="{3DF6F9CC-D682-4753-B387-76910F4D7D5B}" type="pres">
      <dgm:prSet presAssocID="{398E1454-D50F-4D66-B851-77315280EF68}" presName="linV" presStyleCnt="0"/>
      <dgm:spPr/>
    </dgm:pt>
    <dgm:pt modelId="{91441E11-EA42-4790-B156-0C2EC70FAF1D}" type="pres">
      <dgm:prSet presAssocID="{398E1454-D50F-4D66-B851-77315280EF68}" presName="spVertical1" presStyleCnt="0"/>
      <dgm:spPr/>
    </dgm:pt>
    <dgm:pt modelId="{106B2961-2E5B-459A-8912-7FE249F065B2}" type="pres">
      <dgm:prSet presAssocID="{398E1454-D50F-4D66-B851-77315280EF68}" presName="parTx" presStyleLbl="revTx" presStyleIdx="2" presStyleCnt="3">
        <dgm:presLayoutVars>
          <dgm:chMax val="0"/>
          <dgm:chPref val="0"/>
          <dgm:bulletEnabled val="1"/>
        </dgm:presLayoutVars>
      </dgm:prSet>
      <dgm:spPr/>
      <dgm:t>
        <a:bodyPr/>
        <a:lstStyle/>
        <a:p>
          <a:endParaRPr lang="en-US"/>
        </a:p>
      </dgm:t>
    </dgm:pt>
    <dgm:pt modelId="{52B072C1-8434-4933-9F7F-EBD1FE329709}" type="pres">
      <dgm:prSet presAssocID="{398E1454-D50F-4D66-B851-77315280EF68}" presName="spVertical2" presStyleCnt="0"/>
      <dgm:spPr/>
    </dgm:pt>
    <dgm:pt modelId="{DE9C12A2-5D2E-4104-B44B-B41B99247AA3}" type="pres">
      <dgm:prSet presAssocID="{398E1454-D50F-4D66-B851-77315280EF68}" presName="spVertical3" presStyleCnt="0"/>
      <dgm:spPr/>
    </dgm:pt>
    <dgm:pt modelId="{E83BF535-C39C-494E-8CB6-34E4E6E42454}" type="pres">
      <dgm:prSet presAssocID="{516B69A2-FF0D-4D43-8C96-C135B74E622C}" presName="padding2" presStyleCnt="0"/>
      <dgm:spPr/>
    </dgm:pt>
    <dgm:pt modelId="{4C5C6EE2-826E-4B41-9F31-0F05200B8F17}" type="pres">
      <dgm:prSet presAssocID="{516B69A2-FF0D-4D43-8C96-C135B74E622C}" presName="negArrow" presStyleCnt="0"/>
      <dgm:spPr/>
    </dgm:pt>
    <dgm:pt modelId="{1208EF19-3844-4791-824B-F7C9987E9BCD}" type="pres">
      <dgm:prSet presAssocID="{516B69A2-FF0D-4D43-8C96-C135B74E622C}" presName="backgroundArrow" presStyleLbl="node1" presStyleIdx="0" presStyleCnt="1"/>
      <dgm:spPr/>
    </dgm:pt>
  </dgm:ptLst>
  <dgm:cxnLst>
    <dgm:cxn modelId="{922532E6-09A4-4BA2-8AB4-73BC34E846B4}" type="presOf" srcId="{516B69A2-FF0D-4D43-8C96-C135B74E622C}" destId="{DE40AFF7-2BFB-450A-9498-8ABFC6DA1512}" srcOrd="0" destOrd="0" presId="urn:microsoft.com/office/officeart/2005/8/layout/hProcess3"/>
    <dgm:cxn modelId="{6D8740B4-CD6B-4E8A-BE8A-FE5D314998E1}" srcId="{516B69A2-FF0D-4D43-8C96-C135B74E622C}" destId="{FC003933-5681-4C4E-8D94-F6197C1CEBCB}" srcOrd="1" destOrd="0" parTransId="{3FAD3A83-1BA3-44C9-81A6-53682E4D4CE0}" sibTransId="{7921B780-D81C-479F-A798-363329AA40A5}"/>
    <dgm:cxn modelId="{B4D38559-29E5-4766-80A9-276388120010}" type="presOf" srcId="{CA3E87D9-6FAF-4D85-9573-4C2B2EE3048F}" destId="{85ACDE80-2E57-4850-98AD-24F257528C53}" srcOrd="0" destOrd="0" presId="urn:microsoft.com/office/officeart/2005/8/layout/hProcess3"/>
    <dgm:cxn modelId="{8D323BC8-FC7B-4AD7-A870-9FF13591A183}" srcId="{516B69A2-FF0D-4D43-8C96-C135B74E622C}" destId="{398E1454-D50F-4D66-B851-77315280EF68}" srcOrd="2" destOrd="0" parTransId="{0600C825-8C20-42B8-AA4F-33AFDB50F383}" sibTransId="{B0034A40-38FE-4304-8747-5DEF637DEB97}"/>
    <dgm:cxn modelId="{7A521BDA-096A-469E-8FE8-ECB6C8BD8C50}" type="presOf" srcId="{FC003933-5681-4C4E-8D94-F6197C1CEBCB}" destId="{A6225FC0-1453-4E6E-9339-9E009DDA84BF}" srcOrd="0" destOrd="0" presId="urn:microsoft.com/office/officeart/2005/8/layout/hProcess3"/>
    <dgm:cxn modelId="{B0F2CA08-B4D9-4AA4-AAEE-AB13A536C7C4}" srcId="{516B69A2-FF0D-4D43-8C96-C135B74E622C}" destId="{CA3E87D9-6FAF-4D85-9573-4C2B2EE3048F}" srcOrd="0" destOrd="0" parTransId="{9AE9B3D9-7EC2-40B1-B835-B420B99D4DE0}" sibTransId="{6AD072FD-4086-49A3-BAF2-53A10673D446}"/>
    <dgm:cxn modelId="{A1596692-9665-4900-B186-4D3E85D89F31}" type="presOf" srcId="{398E1454-D50F-4D66-B851-77315280EF68}" destId="{106B2961-2E5B-459A-8912-7FE249F065B2}" srcOrd="0" destOrd="0" presId="urn:microsoft.com/office/officeart/2005/8/layout/hProcess3"/>
    <dgm:cxn modelId="{C7208FCF-42A2-4C95-812C-DC0069B425CF}" type="presParOf" srcId="{DE40AFF7-2BFB-450A-9498-8ABFC6DA1512}" destId="{9CE02413-726D-4BAE-B2D0-C3F391C6A5A5}" srcOrd="0" destOrd="0" presId="urn:microsoft.com/office/officeart/2005/8/layout/hProcess3"/>
    <dgm:cxn modelId="{4A9337C6-5D54-4763-80BB-BC73CF23FF0D}" type="presParOf" srcId="{DE40AFF7-2BFB-450A-9498-8ABFC6DA1512}" destId="{A7DCC675-CB92-41DC-80C4-BB4E1CC49157}" srcOrd="1" destOrd="0" presId="urn:microsoft.com/office/officeart/2005/8/layout/hProcess3"/>
    <dgm:cxn modelId="{605DA549-F54B-4268-AB37-CCC352DE923E}" type="presParOf" srcId="{A7DCC675-CB92-41DC-80C4-BB4E1CC49157}" destId="{5F88218D-DA37-4A0A-B50A-5AE61E10F99A}" srcOrd="0" destOrd="0" presId="urn:microsoft.com/office/officeart/2005/8/layout/hProcess3"/>
    <dgm:cxn modelId="{6E431775-CD91-46EE-B946-87ADB392B1E4}" type="presParOf" srcId="{A7DCC675-CB92-41DC-80C4-BB4E1CC49157}" destId="{E1B60EA0-D4D2-48A8-BA8B-C54A8E9F8972}" srcOrd="1" destOrd="0" presId="urn:microsoft.com/office/officeart/2005/8/layout/hProcess3"/>
    <dgm:cxn modelId="{4F523762-4CEA-4822-A947-8EE9601F332F}" type="presParOf" srcId="{E1B60EA0-D4D2-48A8-BA8B-C54A8E9F8972}" destId="{C6A208A3-EABE-41CD-8306-8F50576BE742}" srcOrd="0" destOrd="0" presId="urn:microsoft.com/office/officeart/2005/8/layout/hProcess3"/>
    <dgm:cxn modelId="{D604680C-2B96-4CA0-BBBF-662FBF21194E}" type="presParOf" srcId="{E1B60EA0-D4D2-48A8-BA8B-C54A8E9F8972}" destId="{85ACDE80-2E57-4850-98AD-24F257528C53}" srcOrd="1" destOrd="0" presId="urn:microsoft.com/office/officeart/2005/8/layout/hProcess3"/>
    <dgm:cxn modelId="{6B0F8D9F-702D-4F25-BCB7-310A82A5E475}" type="presParOf" srcId="{E1B60EA0-D4D2-48A8-BA8B-C54A8E9F8972}" destId="{E095E403-B724-40D7-911E-594F89DD69A0}" srcOrd="2" destOrd="0" presId="urn:microsoft.com/office/officeart/2005/8/layout/hProcess3"/>
    <dgm:cxn modelId="{A890DF83-D232-4810-99E6-427452E87B1B}" type="presParOf" srcId="{E1B60EA0-D4D2-48A8-BA8B-C54A8E9F8972}" destId="{4DCCCC58-2DA0-405D-8F4E-7EB680A76CD1}" srcOrd="3" destOrd="0" presId="urn:microsoft.com/office/officeart/2005/8/layout/hProcess3"/>
    <dgm:cxn modelId="{26BE46C5-42CD-4E0C-9799-D118D1BD67D7}" type="presParOf" srcId="{A7DCC675-CB92-41DC-80C4-BB4E1CC49157}" destId="{53AB7308-9A78-420E-ABA7-7053F2521851}" srcOrd="2" destOrd="0" presId="urn:microsoft.com/office/officeart/2005/8/layout/hProcess3"/>
    <dgm:cxn modelId="{64F697D6-DA7C-4A70-AE0E-4D0B45DBEC35}" type="presParOf" srcId="{A7DCC675-CB92-41DC-80C4-BB4E1CC49157}" destId="{ACBC7AF6-9AB0-4880-BB31-E559BBED97F5}" srcOrd="3" destOrd="0" presId="urn:microsoft.com/office/officeart/2005/8/layout/hProcess3"/>
    <dgm:cxn modelId="{7BF0C63B-E3B7-4E77-A8EF-8B08E40FCD4C}" type="presParOf" srcId="{ACBC7AF6-9AB0-4880-BB31-E559BBED97F5}" destId="{AE41E6F7-A609-4DF6-833B-B9D860A66B93}" srcOrd="0" destOrd="0" presId="urn:microsoft.com/office/officeart/2005/8/layout/hProcess3"/>
    <dgm:cxn modelId="{FEF85C46-2588-48D0-A374-C474D6DCDDA7}" type="presParOf" srcId="{ACBC7AF6-9AB0-4880-BB31-E559BBED97F5}" destId="{A6225FC0-1453-4E6E-9339-9E009DDA84BF}" srcOrd="1" destOrd="0" presId="urn:microsoft.com/office/officeart/2005/8/layout/hProcess3"/>
    <dgm:cxn modelId="{12FA98B5-A34C-4855-A829-A4C722F08805}" type="presParOf" srcId="{ACBC7AF6-9AB0-4880-BB31-E559BBED97F5}" destId="{E1EE587A-4AC3-479A-B546-03820539CC7A}" srcOrd="2" destOrd="0" presId="urn:microsoft.com/office/officeart/2005/8/layout/hProcess3"/>
    <dgm:cxn modelId="{4096E58B-8720-4E3D-A349-4B4DE0A6C1EE}" type="presParOf" srcId="{ACBC7AF6-9AB0-4880-BB31-E559BBED97F5}" destId="{36DB5C1C-08C8-4E52-BB15-02B54DF2D3F3}" srcOrd="3" destOrd="0" presId="urn:microsoft.com/office/officeart/2005/8/layout/hProcess3"/>
    <dgm:cxn modelId="{749E0ED6-E7A3-47D3-9404-1BB32DB1ECA3}" type="presParOf" srcId="{A7DCC675-CB92-41DC-80C4-BB4E1CC49157}" destId="{BE732C21-695E-457D-85E8-D4A8B05C248E}" srcOrd="4" destOrd="0" presId="urn:microsoft.com/office/officeart/2005/8/layout/hProcess3"/>
    <dgm:cxn modelId="{5D170F70-DD08-41A9-858E-536963E9370E}" type="presParOf" srcId="{A7DCC675-CB92-41DC-80C4-BB4E1CC49157}" destId="{3DF6F9CC-D682-4753-B387-76910F4D7D5B}" srcOrd="5" destOrd="0" presId="urn:microsoft.com/office/officeart/2005/8/layout/hProcess3"/>
    <dgm:cxn modelId="{3501EC4D-58D1-4914-93BC-2A7AA318DC6F}" type="presParOf" srcId="{3DF6F9CC-D682-4753-B387-76910F4D7D5B}" destId="{91441E11-EA42-4790-B156-0C2EC70FAF1D}" srcOrd="0" destOrd="0" presId="urn:microsoft.com/office/officeart/2005/8/layout/hProcess3"/>
    <dgm:cxn modelId="{A833EC37-B4AA-4C75-BE9D-AAAC158861E1}" type="presParOf" srcId="{3DF6F9CC-D682-4753-B387-76910F4D7D5B}" destId="{106B2961-2E5B-459A-8912-7FE249F065B2}" srcOrd="1" destOrd="0" presId="urn:microsoft.com/office/officeart/2005/8/layout/hProcess3"/>
    <dgm:cxn modelId="{51B55DFD-B587-4E0F-B7BB-D391A80B537A}" type="presParOf" srcId="{3DF6F9CC-D682-4753-B387-76910F4D7D5B}" destId="{52B072C1-8434-4933-9F7F-EBD1FE329709}" srcOrd="2" destOrd="0" presId="urn:microsoft.com/office/officeart/2005/8/layout/hProcess3"/>
    <dgm:cxn modelId="{370BF199-7AEE-41EF-BCEE-2F2E9976BCA7}" type="presParOf" srcId="{3DF6F9CC-D682-4753-B387-76910F4D7D5B}" destId="{DE9C12A2-5D2E-4104-B44B-B41B99247AA3}" srcOrd="3" destOrd="0" presId="urn:microsoft.com/office/officeart/2005/8/layout/hProcess3"/>
    <dgm:cxn modelId="{038FD25E-704C-4819-AE04-21AAF5E78045}" type="presParOf" srcId="{A7DCC675-CB92-41DC-80C4-BB4E1CC49157}" destId="{E83BF535-C39C-494E-8CB6-34E4E6E42454}" srcOrd="6" destOrd="0" presId="urn:microsoft.com/office/officeart/2005/8/layout/hProcess3"/>
    <dgm:cxn modelId="{8EF38510-20D4-49EA-9E52-96CE0F6AF5EC}" type="presParOf" srcId="{A7DCC675-CB92-41DC-80C4-BB4E1CC49157}" destId="{4C5C6EE2-826E-4B41-9F31-0F05200B8F17}" srcOrd="7" destOrd="0" presId="urn:microsoft.com/office/officeart/2005/8/layout/hProcess3"/>
    <dgm:cxn modelId="{93BFF46F-0A18-4455-AC13-C8470C4BF876}" type="presParOf" srcId="{A7DCC675-CB92-41DC-80C4-BB4E1CC49157}" destId="{1208EF19-3844-4791-824B-F7C9987E9BCD}" srcOrd="8" destOrd="0" presId="urn:microsoft.com/office/officeart/2005/8/layout/h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A394283-A4F5-4149-A9FA-4A7D905519B3}" type="doc">
      <dgm:prSet loTypeId="urn:microsoft.com/office/officeart/2005/8/layout/hProcess3" loCatId="process" qsTypeId="urn:microsoft.com/office/officeart/2005/8/quickstyle/simple1" qsCatId="simple" csTypeId="urn:microsoft.com/office/officeart/2005/8/colors/accent1_2" csCatId="accent1" phldr="1"/>
      <dgm:spPr/>
    </dgm:pt>
    <dgm:pt modelId="{D276DB3A-82FF-4EC2-AC86-953B4CC72312}">
      <dgm:prSet phldrT="[Text]"/>
      <dgm:spPr/>
      <dgm:t>
        <a:bodyPr/>
        <a:lstStyle/>
        <a:p>
          <a:r>
            <a:rPr lang="en-US" dirty="0" smtClean="0"/>
            <a:t>February 2022</a:t>
          </a:r>
        </a:p>
        <a:p>
          <a:r>
            <a:rPr lang="en-US" dirty="0" smtClean="0"/>
            <a:t>Pilot</a:t>
          </a:r>
          <a:endParaRPr lang="en-US" dirty="0"/>
        </a:p>
      </dgm:t>
    </dgm:pt>
    <dgm:pt modelId="{F04F7B7A-F1F0-4DE1-A6C8-6887F9100BCF}" type="parTrans" cxnId="{E46ED70D-F9B5-43CA-9686-93B834566C63}">
      <dgm:prSet/>
      <dgm:spPr/>
      <dgm:t>
        <a:bodyPr/>
        <a:lstStyle/>
        <a:p>
          <a:endParaRPr lang="en-US"/>
        </a:p>
      </dgm:t>
    </dgm:pt>
    <dgm:pt modelId="{5A95B3EC-EF3E-4BC8-9C3D-11E01DFE481F}" type="sibTrans" cxnId="{E46ED70D-F9B5-43CA-9686-93B834566C63}">
      <dgm:prSet/>
      <dgm:spPr/>
      <dgm:t>
        <a:bodyPr/>
        <a:lstStyle/>
        <a:p>
          <a:endParaRPr lang="en-US"/>
        </a:p>
      </dgm:t>
    </dgm:pt>
    <dgm:pt modelId="{3639AD31-7D4D-4A6E-8254-46FA1891AAC4}">
      <dgm:prSet phldrT="[Text]"/>
      <dgm:spPr/>
      <dgm:t>
        <a:bodyPr/>
        <a:lstStyle/>
        <a:p>
          <a:r>
            <a:rPr lang="en-US" dirty="0" smtClean="0"/>
            <a:t>March 2022</a:t>
          </a:r>
        </a:p>
        <a:p>
          <a:r>
            <a:rPr lang="en-US" dirty="0" smtClean="0"/>
            <a:t>Debrief</a:t>
          </a:r>
          <a:endParaRPr lang="en-US" dirty="0"/>
        </a:p>
      </dgm:t>
    </dgm:pt>
    <dgm:pt modelId="{07EFED3A-37E6-4EBE-8DAF-7965BD9C2B95}" type="parTrans" cxnId="{C5F8550C-9363-417F-AB1A-D6743F87204A}">
      <dgm:prSet/>
      <dgm:spPr/>
      <dgm:t>
        <a:bodyPr/>
        <a:lstStyle/>
        <a:p>
          <a:endParaRPr lang="en-US"/>
        </a:p>
      </dgm:t>
    </dgm:pt>
    <dgm:pt modelId="{0E0D9233-3393-4FBA-92AE-58D2B9DC4EB8}" type="sibTrans" cxnId="{C5F8550C-9363-417F-AB1A-D6743F87204A}">
      <dgm:prSet/>
      <dgm:spPr/>
      <dgm:t>
        <a:bodyPr/>
        <a:lstStyle/>
        <a:p>
          <a:endParaRPr lang="en-US"/>
        </a:p>
      </dgm:t>
    </dgm:pt>
    <dgm:pt modelId="{518AEFE6-E685-4A09-B93C-FFA63D418FEE}">
      <dgm:prSet phldrT="[Text]"/>
      <dgm:spPr/>
      <dgm:t>
        <a:bodyPr/>
        <a:lstStyle/>
        <a:p>
          <a:r>
            <a:rPr lang="en-US" dirty="0" smtClean="0"/>
            <a:t>April 2022</a:t>
          </a:r>
        </a:p>
        <a:p>
          <a:r>
            <a:rPr lang="en-US" dirty="0" smtClean="0"/>
            <a:t>GO LIVE</a:t>
          </a:r>
          <a:endParaRPr lang="en-US" dirty="0"/>
        </a:p>
      </dgm:t>
    </dgm:pt>
    <dgm:pt modelId="{CAD293BD-BDD5-4B80-A5BC-A10A60311621}" type="parTrans" cxnId="{8861BDDA-1519-4574-9969-17F33EB26816}">
      <dgm:prSet/>
      <dgm:spPr/>
      <dgm:t>
        <a:bodyPr/>
        <a:lstStyle/>
        <a:p>
          <a:endParaRPr lang="en-US"/>
        </a:p>
      </dgm:t>
    </dgm:pt>
    <dgm:pt modelId="{F3241A31-9CFC-4754-B2DE-396D4E1B86F7}" type="sibTrans" cxnId="{8861BDDA-1519-4574-9969-17F33EB26816}">
      <dgm:prSet/>
      <dgm:spPr/>
      <dgm:t>
        <a:bodyPr/>
        <a:lstStyle/>
        <a:p>
          <a:endParaRPr lang="en-US"/>
        </a:p>
      </dgm:t>
    </dgm:pt>
    <dgm:pt modelId="{00D0ED09-DD5B-4C0C-B3FF-6516B32A25E3}" type="pres">
      <dgm:prSet presAssocID="{AA394283-A4F5-4149-A9FA-4A7D905519B3}" presName="Name0" presStyleCnt="0">
        <dgm:presLayoutVars>
          <dgm:dir/>
          <dgm:animLvl val="lvl"/>
          <dgm:resizeHandles val="exact"/>
        </dgm:presLayoutVars>
      </dgm:prSet>
      <dgm:spPr/>
    </dgm:pt>
    <dgm:pt modelId="{9E547A11-DFEE-4D8F-9A38-6D3D57D0C76D}" type="pres">
      <dgm:prSet presAssocID="{AA394283-A4F5-4149-A9FA-4A7D905519B3}" presName="dummy" presStyleCnt="0"/>
      <dgm:spPr/>
    </dgm:pt>
    <dgm:pt modelId="{B303CEEA-A91D-4B66-B4F2-AD17103A91C9}" type="pres">
      <dgm:prSet presAssocID="{AA394283-A4F5-4149-A9FA-4A7D905519B3}" presName="linH" presStyleCnt="0"/>
      <dgm:spPr/>
    </dgm:pt>
    <dgm:pt modelId="{4224C197-DFB9-451D-91D1-806FCCBBC386}" type="pres">
      <dgm:prSet presAssocID="{AA394283-A4F5-4149-A9FA-4A7D905519B3}" presName="padding1" presStyleCnt="0"/>
      <dgm:spPr/>
    </dgm:pt>
    <dgm:pt modelId="{C8635E25-C197-4AC4-BB78-6E6CA07BB230}" type="pres">
      <dgm:prSet presAssocID="{D276DB3A-82FF-4EC2-AC86-953B4CC72312}" presName="linV" presStyleCnt="0"/>
      <dgm:spPr/>
    </dgm:pt>
    <dgm:pt modelId="{39BF381C-78B4-4B69-84BC-37EB975954F5}" type="pres">
      <dgm:prSet presAssocID="{D276DB3A-82FF-4EC2-AC86-953B4CC72312}" presName="spVertical1" presStyleCnt="0"/>
      <dgm:spPr/>
    </dgm:pt>
    <dgm:pt modelId="{F4A21572-B1B2-4BF4-9E4B-A97A5A1DDD99}" type="pres">
      <dgm:prSet presAssocID="{D276DB3A-82FF-4EC2-AC86-953B4CC72312}" presName="parTx" presStyleLbl="revTx" presStyleIdx="0" presStyleCnt="3">
        <dgm:presLayoutVars>
          <dgm:chMax val="0"/>
          <dgm:chPref val="0"/>
          <dgm:bulletEnabled val="1"/>
        </dgm:presLayoutVars>
      </dgm:prSet>
      <dgm:spPr/>
      <dgm:t>
        <a:bodyPr/>
        <a:lstStyle/>
        <a:p>
          <a:endParaRPr lang="en-US"/>
        </a:p>
      </dgm:t>
    </dgm:pt>
    <dgm:pt modelId="{F4DF7918-F759-407A-976F-43C932303154}" type="pres">
      <dgm:prSet presAssocID="{D276DB3A-82FF-4EC2-AC86-953B4CC72312}" presName="spVertical2" presStyleCnt="0"/>
      <dgm:spPr/>
    </dgm:pt>
    <dgm:pt modelId="{02D48209-442E-4F80-BD08-C55355CBE24A}" type="pres">
      <dgm:prSet presAssocID="{D276DB3A-82FF-4EC2-AC86-953B4CC72312}" presName="spVertical3" presStyleCnt="0"/>
      <dgm:spPr/>
    </dgm:pt>
    <dgm:pt modelId="{E9C52825-093A-4713-8998-70B0A0C00BA3}" type="pres">
      <dgm:prSet presAssocID="{5A95B3EC-EF3E-4BC8-9C3D-11E01DFE481F}" presName="space" presStyleCnt="0"/>
      <dgm:spPr/>
    </dgm:pt>
    <dgm:pt modelId="{66F7C4D3-C8D3-4C5A-A976-C2FC17842B90}" type="pres">
      <dgm:prSet presAssocID="{3639AD31-7D4D-4A6E-8254-46FA1891AAC4}" presName="linV" presStyleCnt="0"/>
      <dgm:spPr/>
    </dgm:pt>
    <dgm:pt modelId="{5E788E06-E8B3-40F6-AD71-184A9A38EE46}" type="pres">
      <dgm:prSet presAssocID="{3639AD31-7D4D-4A6E-8254-46FA1891AAC4}" presName="spVertical1" presStyleCnt="0"/>
      <dgm:spPr/>
    </dgm:pt>
    <dgm:pt modelId="{24D6764D-A060-4654-AD22-D383E19B2670}" type="pres">
      <dgm:prSet presAssocID="{3639AD31-7D4D-4A6E-8254-46FA1891AAC4}" presName="parTx" presStyleLbl="revTx" presStyleIdx="1" presStyleCnt="3">
        <dgm:presLayoutVars>
          <dgm:chMax val="0"/>
          <dgm:chPref val="0"/>
          <dgm:bulletEnabled val="1"/>
        </dgm:presLayoutVars>
      </dgm:prSet>
      <dgm:spPr/>
      <dgm:t>
        <a:bodyPr/>
        <a:lstStyle/>
        <a:p>
          <a:endParaRPr lang="en-US"/>
        </a:p>
      </dgm:t>
    </dgm:pt>
    <dgm:pt modelId="{83DFE743-9EB0-4B0F-BCF1-0679A1D60ACA}" type="pres">
      <dgm:prSet presAssocID="{3639AD31-7D4D-4A6E-8254-46FA1891AAC4}" presName="spVertical2" presStyleCnt="0"/>
      <dgm:spPr/>
    </dgm:pt>
    <dgm:pt modelId="{1A59C94B-4BC9-4791-A714-82D7B0D4B801}" type="pres">
      <dgm:prSet presAssocID="{3639AD31-7D4D-4A6E-8254-46FA1891AAC4}" presName="spVertical3" presStyleCnt="0"/>
      <dgm:spPr/>
    </dgm:pt>
    <dgm:pt modelId="{49B67A3C-D735-4704-A8FF-0F7DED57A8A5}" type="pres">
      <dgm:prSet presAssocID="{0E0D9233-3393-4FBA-92AE-58D2B9DC4EB8}" presName="space" presStyleCnt="0"/>
      <dgm:spPr/>
    </dgm:pt>
    <dgm:pt modelId="{CBE70154-D7FD-429E-98D5-07930EB9B063}" type="pres">
      <dgm:prSet presAssocID="{518AEFE6-E685-4A09-B93C-FFA63D418FEE}" presName="linV" presStyleCnt="0"/>
      <dgm:spPr/>
    </dgm:pt>
    <dgm:pt modelId="{18CB93A3-8D91-42F5-A3CC-0FC071A1D45D}" type="pres">
      <dgm:prSet presAssocID="{518AEFE6-E685-4A09-B93C-FFA63D418FEE}" presName="spVertical1" presStyleCnt="0"/>
      <dgm:spPr/>
    </dgm:pt>
    <dgm:pt modelId="{8DC4149D-3976-4047-B291-60DA0C836CFB}" type="pres">
      <dgm:prSet presAssocID="{518AEFE6-E685-4A09-B93C-FFA63D418FEE}" presName="parTx" presStyleLbl="revTx" presStyleIdx="2" presStyleCnt="3">
        <dgm:presLayoutVars>
          <dgm:chMax val="0"/>
          <dgm:chPref val="0"/>
          <dgm:bulletEnabled val="1"/>
        </dgm:presLayoutVars>
      </dgm:prSet>
      <dgm:spPr/>
      <dgm:t>
        <a:bodyPr/>
        <a:lstStyle/>
        <a:p>
          <a:endParaRPr lang="en-US"/>
        </a:p>
      </dgm:t>
    </dgm:pt>
    <dgm:pt modelId="{AEE240D2-0D03-49C3-A0F5-16674919536C}" type="pres">
      <dgm:prSet presAssocID="{518AEFE6-E685-4A09-B93C-FFA63D418FEE}" presName="spVertical2" presStyleCnt="0"/>
      <dgm:spPr/>
    </dgm:pt>
    <dgm:pt modelId="{2F7A0214-CE6D-4C58-A298-74A732F05D4F}" type="pres">
      <dgm:prSet presAssocID="{518AEFE6-E685-4A09-B93C-FFA63D418FEE}" presName="spVertical3" presStyleCnt="0"/>
      <dgm:spPr/>
    </dgm:pt>
    <dgm:pt modelId="{21F3FFD9-560A-49D3-A188-A6FB27870742}" type="pres">
      <dgm:prSet presAssocID="{AA394283-A4F5-4149-A9FA-4A7D905519B3}" presName="padding2" presStyleCnt="0"/>
      <dgm:spPr/>
    </dgm:pt>
    <dgm:pt modelId="{D5A0955A-C5D8-4ECF-B356-E830316AD6C1}" type="pres">
      <dgm:prSet presAssocID="{AA394283-A4F5-4149-A9FA-4A7D905519B3}" presName="negArrow" presStyleCnt="0"/>
      <dgm:spPr/>
    </dgm:pt>
    <dgm:pt modelId="{38C295BA-21C5-4A90-8EFC-184A08BE620B}" type="pres">
      <dgm:prSet presAssocID="{AA394283-A4F5-4149-A9FA-4A7D905519B3}" presName="backgroundArrow" presStyleLbl="node1" presStyleIdx="0" presStyleCnt="1"/>
      <dgm:spPr/>
    </dgm:pt>
  </dgm:ptLst>
  <dgm:cxnLst>
    <dgm:cxn modelId="{8861BDDA-1519-4574-9969-17F33EB26816}" srcId="{AA394283-A4F5-4149-A9FA-4A7D905519B3}" destId="{518AEFE6-E685-4A09-B93C-FFA63D418FEE}" srcOrd="2" destOrd="0" parTransId="{CAD293BD-BDD5-4B80-A5BC-A10A60311621}" sibTransId="{F3241A31-9CFC-4754-B2DE-396D4E1B86F7}"/>
    <dgm:cxn modelId="{E46ED70D-F9B5-43CA-9686-93B834566C63}" srcId="{AA394283-A4F5-4149-A9FA-4A7D905519B3}" destId="{D276DB3A-82FF-4EC2-AC86-953B4CC72312}" srcOrd="0" destOrd="0" parTransId="{F04F7B7A-F1F0-4DE1-A6C8-6887F9100BCF}" sibTransId="{5A95B3EC-EF3E-4BC8-9C3D-11E01DFE481F}"/>
    <dgm:cxn modelId="{1D952B4B-25DA-44E1-84F3-85D387984C9E}" type="presOf" srcId="{518AEFE6-E685-4A09-B93C-FFA63D418FEE}" destId="{8DC4149D-3976-4047-B291-60DA0C836CFB}" srcOrd="0" destOrd="0" presId="urn:microsoft.com/office/officeart/2005/8/layout/hProcess3"/>
    <dgm:cxn modelId="{AB8C66D3-D06C-43F9-9D91-82064C0D8E9D}" type="presOf" srcId="{AA394283-A4F5-4149-A9FA-4A7D905519B3}" destId="{00D0ED09-DD5B-4C0C-B3FF-6516B32A25E3}" srcOrd="0" destOrd="0" presId="urn:microsoft.com/office/officeart/2005/8/layout/hProcess3"/>
    <dgm:cxn modelId="{2206C169-148F-41DE-8507-CABEA70CBD5B}" type="presOf" srcId="{D276DB3A-82FF-4EC2-AC86-953B4CC72312}" destId="{F4A21572-B1B2-4BF4-9E4B-A97A5A1DDD99}" srcOrd="0" destOrd="0" presId="urn:microsoft.com/office/officeart/2005/8/layout/hProcess3"/>
    <dgm:cxn modelId="{A1114C9D-EA0B-48EB-988B-AC1DD143D6DB}" type="presOf" srcId="{3639AD31-7D4D-4A6E-8254-46FA1891AAC4}" destId="{24D6764D-A060-4654-AD22-D383E19B2670}" srcOrd="0" destOrd="0" presId="urn:microsoft.com/office/officeart/2005/8/layout/hProcess3"/>
    <dgm:cxn modelId="{C5F8550C-9363-417F-AB1A-D6743F87204A}" srcId="{AA394283-A4F5-4149-A9FA-4A7D905519B3}" destId="{3639AD31-7D4D-4A6E-8254-46FA1891AAC4}" srcOrd="1" destOrd="0" parTransId="{07EFED3A-37E6-4EBE-8DAF-7965BD9C2B95}" sibTransId="{0E0D9233-3393-4FBA-92AE-58D2B9DC4EB8}"/>
    <dgm:cxn modelId="{403F497E-4E21-40F2-94AB-1786462BD35F}" type="presParOf" srcId="{00D0ED09-DD5B-4C0C-B3FF-6516B32A25E3}" destId="{9E547A11-DFEE-4D8F-9A38-6D3D57D0C76D}" srcOrd="0" destOrd="0" presId="urn:microsoft.com/office/officeart/2005/8/layout/hProcess3"/>
    <dgm:cxn modelId="{D0571045-4F21-4834-8485-A746F469FDB9}" type="presParOf" srcId="{00D0ED09-DD5B-4C0C-B3FF-6516B32A25E3}" destId="{B303CEEA-A91D-4B66-B4F2-AD17103A91C9}" srcOrd="1" destOrd="0" presId="urn:microsoft.com/office/officeart/2005/8/layout/hProcess3"/>
    <dgm:cxn modelId="{C2871649-E2AB-4F6B-9E25-152E51EFDD52}" type="presParOf" srcId="{B303CEEA-A91D-4B66-B4F2-AD17103A91C9}" destId="{4224C197-DFB9-451D-91D1-806FCCBBC386}" srcOrd="0" destOrd="0" presId="urn:microsoft.com/office/officeart/2005/8/layout/hProcess3"/>
    <dgm:cxn modelId="{574D26E9-1E2B-49B4-995C-BC19FE26FC84}" type="presParOf" srcId="{B303CEEA-A91D-4B66-B4F2-AD17103A91C9}" destId="{C8635E25-C197-4AC4-BB78-6E6CA07BB230}" srcOrd="1" destOrd="0" presId="urn:microsoft.com/office/officeart/2005/8/layout/hProcess3"/>
    <dgm:cxn modelId="{A068333E-30C8-4321-B016-7B4FF62C7B20}" type="presParOf" srcId="{C8635E25-C197-4AC4-BB78-6E6CA07BB230}" destId="{39BF381C-78B4-4B69-84BC-37EB975954F5}" srcOrd="0" destOrd="0" presId="urn:microsoft.com/office/officeart/2005/8/layout/hProcess3"/>
    <dgm:cxn modelId="{DD7F7748-A940-4969-A811-928F041F120F}" type="presParOf" srcId="{C8635E25-C197-4AC4-BB78-6E6CA07BB230}" destId="{F4A21572-B1B2-4BF4-9E4B-A97A5A1DDD99}" srcOrd="1" destOrd="0" presId="urn:microsoft.com/office/officeart/2005/8/layout/hProcess3"/>
    <dgm:cxn modelId="{42A2748E-BFE7-4392-9C14-A602E2D233B1}" type="presParOf" srcId="{C8635E25-C197-4AC4-BB78-6E6CA07BB230}" destId="{F4DF7918-F759-407A-976F-43C932303154}" srcOrd="2" destOrd="0" presId="urn:microsoft.com/office/officeart/2005/8/layout/hProcess3"/>
    <dgm:cxn modelId="{DB320485-EB70-43D6-91E1-D530880EA9AB}" type="presParOf" srcId="{C8635E25-C197-4AC4-BB78-6E6CA07BB230}" destId="{02D48209-442E-4F80-BD08-C55355CBE24A}" srcOrd="3" destOrd="0" presId="urn:microsoft.com/office/officeart/2005/8/layout/hProcess3"/>
    <dgm:cxn modelId="{2C227874-C439-491F-8B74-C44EF7D3ACA0}" type="presParOf" srcId="{B303CEEA-A91D-4B66-B4F2-AD17103A91C9}" destId="{E9C52825-093A-4713-8998-70B0A0C00BA3}" srcOrd="2" destOrd="0" presId="urn:microsoft.com/office/officeart/2005/8/layout/hProcess3"/>
    <dgm:cxn modelId="{BB5962B6-04C6-4724-8A8D-9F14A7AB527E}" type="presParOf" srcId="{B303CEEA-A91D-4B66-B4F2-AD17103A91C9}" destId="{66F7C4D3-C8D3-4C5A-A976-C2FC17842B90}" srcOrd="3" destOrd="0" presId="urn:microsoft.com/office/officeart/2005/8/layout/hProcess3"/>
    <dgm:cxn modelId="{0FBF927B-7C0B-42ED-AEB4-2B476E0FEC29}" type="presParOf" srcId="{66F7C4D3-C8D3-4C5A-A976-C2FC17842B90}" destId="{5E788E06-E8B3-40F6-AD71-184A9A38EE46}" srcOrd="0" destOrd="0" presId="urn:microsoft.com/office/officeart/2005/8/layout/hProcess3"/>
    <dgm:cxn modelId="{2CDB430C-E440-4AB6-BA04-C69F5AF1FFF7}" type="presParOf" srcId="{66F7C4D3-C8D3-4C5A-A976-C2FC17842B90}" destId="{24D6764D-A060-4654-AD22-D383E19B2670}" srcOrd="1" destOrd="0" presId="urn:microsoft.com/office/officeart/2005/8/layout/hProcess3"/>
    <dgm:cxn modelId="{807BE4B7-2122-4FE7-BC7A-F28EEEB5C846}" type="presParOf" srcId="{66F7C4D3-C8D3-4C5A-A976-C2FC17842B90}" destId="{83DFE743-9EB0-4B0F-BCF1-0679A1D60ACA}" srcOrd="2" destOrd="0" presId="urn:microsoft.com/office/officeart/2005/8/layout/hProcess3"/>
    <dgm:cxn modelId="{0272E856-6D13-44D8-92D7-0F033F356B35}" type="presParOf" srcId="{66F7C4D3-C8D3-4C5A-A976-C2FC17842B90}" destId="{1A59C94B-4BC9-4791-A714-82D7B0D4B801}" srcOrd="3" destOrd="0" presId="urn:microsoft.com/office/officeart/2005/8/layout/hProcess3"/>
    <dgm:cxn modelId="{5291DF1B-B231-4CBA-8566-34296635DA11}" type="presParOf" srcId="{B303CEEA-A91D-4B66-B4F2-AD17103A91C9}" destId="{49B67A3C-D735-4704-A8FF-0F7DED57A8A5}" srcOrd="4" destOrd="0" presId="urn:microsoft.com/office/officeart/2005/8/layout/hProcess3"/>
    <dgm:cxn modelId="{574625B7-10A7-43AE-A7EF-39328B10B04B}" type="presParOf" srcId="{B303CEEA-A91D-4B66-B4F2-AD17103A91C9}" destId="{CBE70154-D7FD-429E-98D5-07930EB9B063}" srcOrd="5" destOrd="0" presId="urn:microsoft.com/office/officeart/2005/8/layout/hProcess3"/>
    <dgm:cxn modelId="{14ED3454-B129-416D-8052-A4B0E7E22E16}" type="presParOf" srcId="{CBE70154-D7FD-429E-98D5-07930EB9B063}" destId="{18CB93A3-8D91-42F5-A3CC-0FC071A1D45D}" srcOrd="0" destOrd="0" presId="urn:microsoft.com/office/officeart/2005/8/layout/hProcess3"/>
    <dgm:cxn modelId="{993733D4-D970-4149-8E07-C473C0D45E16}" type="presParOf" srcId="{CBE70154-D7FD-429E-98D5-07930EB9B063}" destId="{8DC4149D-3976-4047-B291-60DA0C836CFB}" srcOrd="1" destOrd="0" presId="urn:microsoft.com/office/officeart/2005/8/layout/hProcess3"/>
    <dgm:cxn modelId="{469162AA-2F6D-4C8E-9EF7-82EC3BE065B9}" type="presParOf" srcId="{CBE70154-D7FD-429E-98D5-07930EB9B063}" destId="{AEE240D2-0D03-49C3-A0F5-16674919536C}" srcOrd="2" destOrd="0" presId="urn:microsoft.com/office/officeart/2005/8/layout/hProcess3"/>
    <dgm:cxn modelId="{AE260379-5648-4DD2-BFC8-52FC45DD58B6}" type="presParOf" srcId="{CBE70154-D7FD-429E-98D5-07930EB9B063}" destId="{2F7A0214-CE6D-4C58-A298-74A732F05D4F}" srcOrd="3" destOrd="0" presId="urn:microsoft.com/office/officeart/2005/8/layout/hProcess3"/>
    <dgm:cxn modelId="{556EA845-3667-4068-8315-59906B96143D}" type="presParOf" srcId="{B303CEEA-A91D-4B66-B4F2-AD17103A91C9}" destId="{21F3FFD9-560A-49D3-A188-A6FB27870742}" srcOrd="6" destOrd="0" presId="urn:microsoft.com/office/officeart/2005/8/layout/hProcess3"/>
    <dgm:cxn modelId="{B542C189-BAA4-4E3B-892E-31A6FD57B143}" type="presParOf" srcId="{B303CEEA-A91D-4B66-B4F2-AD17103A91C9}" destId="{D5A0955A-C5D8-4ECF-B356-E830316AD6C1}" srcOrd="7" destOrd="0" presId="urn:microsoft.com/office/officeart/2005/8/layout/hProcess3"/>
    <dgm:cxn modelId="{1A2AC410-0750-43BC-88A6-51B30FA5B040}" type="presParOf" srcId="{B303CEEA-A91D-4B66-B4F2-AD17103A91C9}" destId="{38C295BA-21C5-4A90-8EFC-184A08BE620B}" srcOrd="8" destOrd="0" presId="urn:microsoft.com/office/officeart/2005/8/layout/h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extLst>
      <p:ext uri="{BB962C8B-B14F-4D97-AF65-F5344CB8AC3E}">
        <p14:creationId xmlns:p14="http://schemas.microsoft.com/office/powerpoint/2010/main" val="1924007071"/>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jpeg"/></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61BEF0D-F0BB-DE4B-95CE-6DB70DBA9567}" type="datetimeFigureOut">
              <a:rPr lang="en-US" smtClean="0"/>
              <a:pPr/>
              <a:t>03/2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518116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61BEF0D-F0BB-DE4B-95CE-6DB70DBA9567}" type="datetimeFigureOut">
              <a:rPr lang="en-US" smtClean="0"/>
              <a:pPr/>
              <a:t>03/2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771728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61BEF0D-F0BB-DE4B-95CE-6DB70DBA9567}" type="datetimeFigureOut">
              <a:rPr lang="en-US" smtClean="0"/>
              <a:pPr/>
              <a:t>03/2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
        <p:nvSpPr>
          <p:cNvPr id="7" name="Rectangle 6" hidden="1">
            <a:extLst>
              <a:ext uri="{FF2B5EF4-FFF2-40B4-BE49-F238E27FC236}">
                <a16:creationId xmlns:a16="http://schemas.microsoft.com/office/drawing/2014/main" xmlns="" id="{805D5D6F-A8F2-4CD2-B261-581E2C090399}"/>
              </a:ext>
            </a:extLst>
          </p:cNvPr>
          <p:cNvSpPr/>
          <p:nvPr userDrawn="1">
            <p:custDataLst>
              <p:tags r:id="rId1"/>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en-US" sz="3450" b="1" i="0" baseline="0">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31802250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xmlns="" id="{0DE8251B-433C-435A-8A1F-3038E1FCFD0E}"/>
              </a:ext>
            </a:extLst>
          </p:cNvPr>
          <p:cNvSpPr/>
          <p:nvPr userDrawn="1"/>
        </p:nvSpPr>
        <p:spPr>
          <a:xfrm>
            <a:off x="0" y="0"/>
            <a:ext cx="9144000" cy="43822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050"/>
          </a:p>
        </p:txBody>
      </p:sp>
      <p:sp>
        <p:nvSpPr>
          <p:cNvPr id="8" name="Rectangle 7">
            <a:extLst>
              <a:ext uri="{FF2B5EF4-FFF2-40B4-BE49-F238E27FC236}">
                <a16:creationId xmlns:a16="http://schemas.microsoft.com/office/drawing/2014/main" xmlns="" id="{C0EB75DD-E06D-4C2D-A671-946F1B904CE9}"/>
              </a:ext>
            </a:extLst>
          </p:cNvPr>
          <p:cNvSpPr/>
          <p:nvPr userDrawn="1"/>
        </p:nvSpPr>
        <p:spPr>
          <a:xfrm>
            <a:off x="0" y="4400550"/>
            <a:ext cx="9144000" cy="742950"/>
          </a:xfrm>
          <a:prstGeom prst="rect">
            <a:avLst/>
          </a:prstGeom>
          <a:solidFill>
            <a:schemeClr val="bg1"/>
          </a:solidFill>
          <a:ln>
            <a:noFill/>
          </a:ln>
          <a:effectLst>
            <a:outerShdw dist="50800" dir="5400000" algn="ctr" rotWithShape="0">
              <a:srgbClr val="000000">
                <a:alpha val="0"/>
              </a:srgb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050" b="1">
                <a:solidFill>
                  <a:schemeClr val="accent4"/>
                </a:solidFill>
              </a:rPr>
              <a:t>Connecticut Department of Public Health</a:t>
            </a:r>
          </a:p>
          <a:p>
            <a:pPr algn="ctr" eaLnBrk="1" fontAlgn="auto" hangingPunct="1">
              <a:spcBef>
                <a:spcPts val="0"/>
              </a:spcBef>
              <a:spcAft>
                <a:spcPts val="0"/>
              </a:spcAft>
              <a:defRPr/>
            </a:pPr>
            <a:r>
              <a:rPr lang="en-US" sz="1200" i="1">
                <a:solidFill>
                  <a:schemeClr val="accent4"/>
                </a:solidFill>
              </a:rPr>
              <a:t>Keeping Connecticut Healthy</a:t>
            </a:r>
          </a:p>
        </p:txBody>
      </p:sp>
      <p:pic>
        <p:nvPicPr>
          <p:cNvPr id="9" name="Picture 8">
            <a:extLst>
              <a:ext uri="{FF2B5EF4-FFF2-40B4-BE49-F238E27FC236}">
                <a16:creationId xmlns:a16="http://schemas.microsoft.com/office/drawing/2014/main" xmlns="" id="{94258AF9-0B37-4898-B11A-8013986126C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8600" y="4457700"/>
            <a:ext cx="628650" cy="610362"/>
          </a:xfrm>
          <a:prstGeom prst="rect">
            <a:avLst/>
          </a:prstGeom>
          <a:effectLst>
            <a:softEdge rad="0"/>
          </a:effectLst>
        </p:spPr>
      </p:pic>
      <p:pic>
        <p:nvPicPr>
          <p:cNvPr id="10" name="Picture 7" descr="CTSeal_BW">
            <a:extLst>
              <a:ext uri="{FF2B5EF4-FFF2-40B4-BE49-F238E27FC236}">
                <a16:creationId xmlns:a16="http://schemas.microsoft.com/office/drawing/2014/main" xmlns="" id="{E235F1A7-9D33-40DB-A582-E5A0548E1042}"/>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8210550" y="4457700"/>
            <a:ext cx="628651" cy="610362"/>
          </a:xfrm>
          <a:prstGeom prst="rect">
            <a:avLst/>
          </a:prstGeom>
          <a:noFill/>
          <a:ln w="9525" algn="in">
            <a:noFill/>
            <a:miter lim="800000"/>
            <a:headEnd/>
            <a:tailEnd/>
          </a:ln>
          <a:effectLst>
            <a:softEdge rad="0"/>
          </a:effectLst>
        </p:spPr>
      </p:pic>
      <p:cxnSp>
        <p:nvCxnSpPr>
          <p:cNvPr id="11" name="Straight Connector 10">
            <a:extLst>
              <a:ext uri="{FF2B5EF4-FFF2-40B4-BE49-F238E27FC236}">
                <a16:creationId xmlns:a16="http://schemas.microsoft.com/office/drawing/2014/main" xmlns="" id="{B4C360F7-F812-4C9B-9D62-069727A9496D}"/>
              </a:ext>
            </a:extLst>
          </p:cNvPr>
          <p:cNvCxnSpPr/>
          <p:nvPr userDrawn="1"/>
        </p:nvCxnSpPr>
        <p:spPr>
          <a:xfrm>
            <a:off x="0" y="4400550"/>
            <a:ext cx="9144000" cy="0"/>
          </a:xfrm>
          <a:prstGeom prst="line">
            <a:avLst/>
          </a:prstGeom>
          <a:ln w="635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1473795" y="2868943"/>
            <a:ext cx="5637010" cy="661589"/>
          </a:xfrm>
          <a:prstGeom prst="rect">
            <a:avLst/>
          </a:prstGeom>
        </p:spPr>
        <p:txBody>
          <a:bodyPr>
            <a:normAutofit/>
          </a:bodyPr>
          <a:lstStyle>
            <a:lvl1pPr marL="0" indent="0" algn="l">
              <a:buNone/>
              <a:defRPr sz="1650">
                <a:solidFill>
                  <a:schemeClr val="tx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17" name="Subtitle 2">
            <a:extLst>
              <a:ext uri="{FF2B5EF4-FFF2-40B4-BE49-F238E27FC236}">
                <a16:creationId xmlns:a16="http://schemas.microsoft.com/office/drawing/2014/main" xmlns="" id="{39295F2B-52CA-4FF2-9EEF-C5D70D66E3E6}"/>
              </a:ext>
            </a:extLst>
          </p:cNvPr>
          <p:cNvSpPr txBox="1">
            <a:spLocks/>
          </p:cNvSpPr>
          <p:nvPr userDrawn="1"/>
        </p:nvSpPr>
        <p:spPr bwMode="auto">
          <a:xfrm>
            <a:off x="1473795" y="1762259"/>
            <a:ext cx="5637010" cy="661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noAutofit/>
          </a:bodyPr>
          <a:lstStyle>
            <a:lvl1pPr marL="0" indent="0" algn="l" rtl="0" eaLnBrk="0" fontAlgn="base" hangingPunct="0">
              <a:spcBef>
                <a:spcPct val="20000"/>
              </a:spcBef>
              <a:spcAft>
                <a:spcPts val="300"/>
              </a:spcAft>
              <a:buClr>
                <a:srgbClr val="C3260C"/>
              </a:buClr>
              <a:buSzPct val="130000"/>
              <a:buFont typeface="Georgia" panose="02040502050405020303" pitchFamily="18" charset="0"/>
              <a:buNone/>
              <a:defRPr sz="2200" kern="1200">
                <a:solidFill>
                  <a:schemeClr val="tx2"/>
                </a:solidFill>
                <a:latin typeface="+mn-lt"/>
                <a:ea typeface="+mn-ea"/>
                <a:cs typeface="+mn-cs"/>
              </a:defRPr>
            </a:lvl1pPr>
            <a:lvl2pPr marL="457200" indent="0" algn="ctr" rtl="0" eaLnBrk="0" fontAlgn="base" hangingPunct="0">
              <a:spcBef>
                <a:spcPct val="20000"/>
              </a:spcBef>
              <a:spcAft>
                <a:spcPts val="300"/>
              </a:spcAft>
              <a:buClr>
                <a:srgbClr val="C3260C"/>
              </a:buClr>
              <a:buSzPct val="130000"/>
              <a:buFont typeface="Georgia" panose="02040502050405020303" pitchFamily="18" charset="0"/>
              <a:buNone/>
              <a:defRPr sz="2000" kern="1200">
                <a:solidFill>
                  <a:schemeClr val="tx1">
                    <a:tint val="75000"/>
                  </a:schemeClr>
                </a:solidFill>
                <a:latin typeface="+mn-lt"/>
                <a:ea typeface="+mn-ea"/>
                <a:cs typeface="+mn-cs"/>
              </a:defRPr>
            </a:lvl2pPr>
            <a:lvl3pPr marL="914400" indent="0" algn="ctr" rtl="0" eaLnBrk="0" fontAlgn="base" hangingPunct="0">
              <a:spcBef>
                <a:spcPct val="20000"/>
              </a:spcBef>
              <a:spcAft>
                <a:spcPts val="300"/>
              </a:spcAft>
              <a:buClr>
                <a:srgbClr val="C3260C"/>
              </a:buClr>
              <a:buSzPct val="130000"/>
              <a:buFont typeface="Georgia" panose="02040502050405020303" pitchFamily="18" charset="0"/>
              <a:buNone/>
              <a:defRPr kern="1200">
                <a:solidFill>
                  <a:schemeClr val="tx1">
                    <a:tint val="75000"/>
                  </a:schemeClr>
                </a:solidFill>
                <a:latin typeface="+mn-lt"/>
                <a:ea typeface="+mn-ea"/>
                <a:cs typeface="+mn-cs"/>
              </a:defRPr>
            </a:lvl3pPr>
            <a:lvl4pPr marL="1371600" indent="0" algn="ctr" rtl="0" eaLnBrk="0" fontAlgn="base" hangingPunct="0">
              <a:spcBef>
                <a:spcPct val="20000"/>
              </a:spcBef>
              <a:spcAft>
                <a:spcPts val="300"/>
              </a:spcAft>
              <a:buClr>
                <a:srgbClr val="C3260C"/>
              </a:buClr>
              <a:buSzPct val="130000"/>
              <a:buFont typeface="Georgia" panose="02040502050405020303" pitchFamily="18" charset="0"/>
              <a:buNone/>
              <a:defRPr sz="1600" kern="1200">
                <a:solidFill>
                  <a:schemeClr val="tx1">
                    <a:tint val="75000"/>
                  </a:schemeClr>
                </a:solidFill>
                <a:latin typeface="+mn-lt"/>
                <a:ea typeface="+mn-ea"/>
                <a:cs typeface="+mn-cs"/>
              </a:defRPr>
            </a:lvl4pPr>
            <a:lvl5pPr marL="1828800" indent="0" algn="ctr" rtl="0" eaLnBrk="0" fontAlgn="base" hangingPunct="0">
              <a:spcBef>
                <a:spcPct val="20000"/>
              </a:spcBef>
              <a:spcAft>
                <a:spcPts val="300"/>
              </a:spcAft>
              <a:buClr>
                <a:srgbClr val="C3260C"/>
              </a:buClr>
              <a:buSzPct val="130000"/>
              <a:buFont typeface="Georgia" panose="02040502050405020303" pitchFamily="18"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6pPr>
            <a:lvl7pPr marL="27432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7pPr>
            <a:lvl8pPr marL="32004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8pPr>
            <a:lvl9pPr marL="36576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9pPr>
          </a:lstStyle>
          <a:p>
            <a:r>
              <a:rPr lang="en-US" sz="2700" b="1"/>
              <a:t>Click to edit Master subtitle style</a:t>
            </a:r>
          </a:p>
        </p:txBody>
      </p:sp>
    </p:spTree>
    <p:extLst>
      <p:ext uri="{BB962C8B-B14F-4D97-AF65-F5344CB8AC3E}">
        <p14:creationId xmlns:p14="http://schemas.microsoft.com/office/powerpoint/2010/main" val="18038035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hidden="1">
            <a:extLst>
              <a:ext uri="{FF2B5EF4-FFF2-40B4-BE49-F238E27FC236}">
                <a16:creationId xmlns:a16="http://schemas.microsoft.com/office/drawing/2014/main" xmlns="" id="{FE1D034B-FB9C-496C-B1B8-998CC6E25341}"/>
              </a:ext>
            </a:extLst>
          </p:cNvPr>
          <p:cNvSpPr/>
          <p:nvPr userDrawn="1">
            <p:custDataLst>
              <p:tags r:id="rId1"/>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450" b="1" i="0" baseline="0">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1108076" y="40481"/>
            <a:ext cx="6511925" cy="857250"/>
          </a:xfrm>
          <a:prstGeom prst="rect">
            <a:avLst/>
          </a:prstGeom>
        </p:spPr>
        <p:txBody>
          <a:bodyPr vert="horz" anchor="b"/>
          <a:lstStyle>
            <a:lvl1pPr>
              <a:defRPr lang="en-US" sz="2700">
                <a:solidFill>
                  <a:srgbClr val="000000"/>
                </a:solidFill>
                <a:effectLst/>
              </a:defRPr>
            </a:lvl1pPr>
          </a:lstStyle>
          <a:p>
            <a:pPr lvl="0"/>
            <a:r>
              <a:rPr lang="en-US"/>
              <a:t>Click to edit Master title style</a:t>
            </a:r>
          </a:p>
        </p:txBody>
      </p:sp>
      <p:sp>
        <p:nvSpPr>
          <p:cNvPr id="3" name="Footer Placeholder 3">
            <a:extLst>
              <a:ext uri="{FF2B5EF4-FFF2-40B4-BE49-F238E27FC236}">
                <a16:creationId xmlns:a16="http://schemas.microsoft.com/office/drawing/2014/main" xmlns="" id="{1910C74D-CD76-4388-9FC9-ECA7277906D9}"/>
              </a:ext>
            </a:extLst>
          </p:cNvPr>
          <p:cNvSpPr>
            <a:spLocks noGrp="1"/>
          </p:cNvSpPr>
          <p:nvPr>
            <p:ph type="ftr" sz="quarter" idx="10"/>
          </p:nvPr>
        </p:nvSpPr>
        <p:spPr>
          <a:xfrm>
            <a:off x="457200" y="4629151"/>
            <a:ext cx="3352800" cy="273844"/>
          </a:xfrm>
          <a:prstGeom prst="rect">
            <a:avLst/>
          </a:prstGeom>
        </p:spPr>
        <p:txBody>
          <a:bodyPr/>
          <a:lstStyle>
            <a:lvl1pPr>
              <a:defRPr/>
            </a:lvl1pPr>
          </a:lstStyle>
          <a:p>
            <a:pPr>
              <a:defRPr/>
            </a:pPr>
            <a:endParaRPr lang="en-US"/>
          </a:p>
        </p:txBody>
      </p:sp>
      <p:sp>
        <p:nvSpPr>
          <p:cNvPr id="4" name="Slide Number Placeholder 4">
            <a:extLst>
              <a:ext uri="{FF2B5EF4-FFF2-40B4-BE49-F238E27FC236}">
                <a16:creationId xmlns:a16="http://schemas.microsoft.com/office/drawing/2014/main" xmlns="" id="{91EC2F39-B920-40F0-8A32-F957BA631233}"/>
              </a:ext>
            </a:extLst>
          </p:cNvPr>
          <p:cNvSpPr>
            <a:spLocks noGrp="1"/>
          </p:cNvSpPr>
          <p:nvPr>
            <p:ph type="sldNum" sz="quarter" idx="11"/>
          </p:nvPr>
        </p:nvSpPr>
        <p:spPr>
          <a:xfrm>
            <a:off x="3810000" y="4629151"/>
            <a:ext cx="1828800" cy="273844"/>
          </a:xfrm>
          <a:prstGeom prst="rect">
            <a:avLst/>
          </a:prstGeom>
        </p:spPr>
        <p:txBody>
          <a:bodyPr/>
          <a:lstStyle>
            <a:lvl1pPr>
              <a:defRPr smtClean="0"/>
            </a:lvl1pPr>
          </a:lstStyle>
          <a:p>
            <a:pPr>
              <a:defRPr/>
            </a:pPr>
            <a:fld id="{C4CA3D15-2FDF-4B8B-A152-EE70842600B6}" type="slidenum">
              <a:rPr lang="en-US" altLang="en-US"/>
              <a:pPr>
                <a:defRPr/>
              </a:pPr>
              <a:t>‹#›</a:t>
            </a:fld>
            <a:endParaRPr lang="en-US" altLang="en-US"/>
          </a:p>
        </p:txBody>
      </p:sp>
    </p:spTree>
    <p:extLst>
      <p:ext uri="{BB962C8B-B14F-4D97-AF65-F5344CB8AC3E}">
        <p14:creationId xmlns:p14="http://schemas.microsoft.com/office/powerpoint/2010/main" val="36152309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61BEF0D-F0BB-DE4B-95CE-6DB70DBA9567}" type="datetimeFigureOut">
              <a:rPr lang="en-US" smtClean="0"/>
              <a:pPr/>
              <a:t>03/2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
        <p:nvSpPr>
          <p:cNvPr id="7" name="Rectangle 6" hidden="1">
            <a:extLst>
              <a:ext uri="{FF2B5EF4-FFF2-40B4-BE49-F238E27FC236}">
                <a16:creationId xmlns:a16="http://schemas.microsoft.com/office/drawing/2014/main" xmlns="" id="{272315B8-4B9E-4631-9419-72DBA4226B22}"/>
              </a:ext>
            </a:extLst>
          </p:cNvPr>
          <p:cNvSpPr/>
          <p:nvPr userDrawn="1">
            <p:custDataLst>
              <p:tags r:id="rId1"/>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450" b="1" i="0" baseline="0">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965889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a:defRPr/>
            </a:pPr>
            <a:fld id="{60EB4527-36F9-44E9-8215-F3E6AE599ADC}" type="datetimeFigureOut">
              <a:rPr lang="en-US" smtClean="0"/>
              <a:pPr>
                <a:defRPr/>
              </a:pPr>
              <a:t>03/29/2022</a:t>
            </a:fld>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E7CCF707-23F4-470D-89BA-58959880F424}" type="slidenum">
              <a:rPr lang="en-US" altLang="en-US" smtClean="0"/>
              <a:pPr>
                <a:defRPr/>
              </a:pPr>
              <a:t>‹#›</a:t>
            </a:fld>
            <a:endParaRPr lang="en-US" altLang="en-US"/>
          </a:p>
        </p:txBody>
      </p:sp>
      <p:sp>
        <p:nvSpPr>
          <p:cNvPr id="7" name="Rectangle 6" hidden="1">
            <a:extLst>
              <a:ext uri="{FF2B5EF4-FFF2-40B4-BE49-F238E27FC236}">
                <a16:creationId xmlns:a16="http://schemas.microsoft.com/office/drawing/2014/main" xmlns="" id="{F0A9A58F-02A2-4A91-9DF2-FC7B28261047}"/>
              </a:ext>
            </a:extLst>
          </p:cNvPr>
          <p:cNvSpPr/>
          <p:nvPr userDrawn="1">
            <p:custDataLst>
              <p:tags r:id="rId1"/>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450" b="1" i="0" baseline="0">
              <a:latin typeface="Trebuchet MS" panose="020B0603020202020204" pitchFamily="34" charset="0"/>
              <a:ea typeface="+mj-ea"/>
              <a:cs typeface="+mj-cs"/>
              <a:sym typeface="Trebuchet MS" panose="020B0603020202020204" pitchFamily="34" charset="0"/>
            </a:endParaRPr>
          </a:p>
        </p:txBody>
      </p:sp>
      <p:sp>
        <p:nvSpPr>
          <p:cNvPr id="8" name="Oval 7">
            <a:extLst>
              <a:ext uri="{FF2B5EF4-FFF2-40B4-BE49-F238E27FC236}">
                <a16:creationId xmlns:a16="http://schemas.microsoft.com/office/drawing/2014/main" xmlns="" id="{12A95C5B-87C2-4936-8BC8-47BF271670C1}"/>
              </a:ext>
            </a:extLst>
          </p:cNvPr>
          <p:cNvSpPr/>
          <p:nvPr userDrawn="1"/>
        </p:nvSpPr>
        <p:spPr>
          <a:xfrm>
            <a:off x="0" y="1200150"/>
            <a:ext cx="9144000" cy="382905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050"/>
          </a:p>
        </p:txBody>
      </p:sp>
      <p:sp>
        <p:nvSpPr>
          <p:cNvPr id="9" name="Rectangle 8">
            <a:extLst>
              <a:ext uri="{FF2B5EF4-FFF2-40B4-BE49-F238E27FC236}">
                <a16:creationId xmlns:a16="http://schemas.microsoft.com/office/drawing/2014/main" xmlns="" id="{618F0320-4489-4F4E-8706-5C555FDDAA49}"/>
              </a:ext>
            </a:extLst>
          </p:cNvPr>
          <p:cNvSpPr/>
          <p:nvPr userDrawn="1"/>
        </p:nvSpPr>
        <p:spPr>
          <a:xfrm>
            <a:off x="0" y="4377019"/>
            <a:ext cx="9144000" cy="742950"/>
          </a:xfrm>
          <a:prstGeom prst="rect">
            <a:avLst/>
          </a:prstGeom>
          <a:solidFill>
            <a:schemeClr val="bg1"/>
          </a:solidFill>
          <a:ln>
            <a:noFill/>
          </a:ln>
          <a:effectLst>
            <a:outerShdw dist="50800" dir="5400000" algn="ctr" rotWithShape="0">
              <a:srgbClr val="000000">
                <a:alpha val="0"/>
              </a:srgb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050" b="1">
                <a:solidFill>
                  <a:schemeClr val="accent4"/>
                </a:solidFill>
              </a:rPr>
              <a:t>Connecticut Department of Public Health</a:t>
            </a:r>
          </a:p>
          <a:p>
            <a:pPr algn="ctr" eaLnBrk="1" fontAlgn="auto" hangingPunct="1">
              <a:spcBef>
                <a:spcPts val="0"/>
              </a:spcBef>
              <a:spcAft>
                <a:spcPts val="0"/>
              </a:spcAft>
              <a:defRPr/>
            </a:pPr>
            <a:r>
              <a:rPr lang="en-US" sz="1200" i="1">
                <a:solidFill>
                  <a:schemeClr val="accent4"/>
                </a:solidFill>
              </a:rPr>
              <a:t>Keeping  Connecticut Healthy</a:t>
            </a:r>
          </a:p>
        </p:txBody>
      </p:sp>
      <p:pic>
        <p:nvPicPr>
          <p:cNvPr id="10" name="Picture 9">
            <a:extLst>
              <a:ext uri="{FF2B5EF4-FFF2-40B4-BE49-F238E27FC236}">
                <a16:creationId xmlns:a16="http://schemas.microsoft.com/office/drawing/2014/main" xmlns="" id="{A3DB541C-5FC2-45E7-9E30-DD18711F922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28600" y="4434169"/>
            <a:ext cx="628650" cy="610362"/>
          </a:xfrm>
          <a:prstGeom prst="rect">
            <a:avLst/>
          </a:prstGeom>
          <a:effectLst>
            <a:softEdge rad="0"/>
          </a:effectLst>
        </p:spPr>
      </p:pic>
      <p:pic>
        <p:nvPicPr>
          <p:cNvPr id="11" name="Picture 7" descr="CTSeal_BW">
            <a:extLst>
              <a:ext uri="{FF2B5EF4-FFF2-40B4-BE49-F238E27FC236}">
                <a16:creationId xmlns:a16="http://schemas.microsoft.com/office/drawing/2014/main" xmlns="" id="{52D2363A-0D71-4495-A721-F24BA19CF350}"/>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8097904" y="4434169"/>
            <a:ext cx="741297" cy="610362"/>
          </a:xfrm>
          <a:prstGeom prst="rect">
            <a:avLst/>
          </a:prstGeom>
          <a:noFill/>
          <a:ln w="9525" algn="in">
            <a:noFill/>
            <a:miter lim="800000"/>
            <a:headEnd/>
            <a:tailEnd/>
          </a:ln>
          <a:effectLst>
            <a:softEdge rad="0"/>
          </a:effectLst>
        </p:spPr>
      </p:pic>
      <p:cxnSp>
        <p:nvCxnSpPr>
          <p:cNvPr id="12" name="Straight Connector 11">
            <a:extLst>
              <a:ext uri="{FF2B5EF4-FFF2-40B4-BE49-F238E27FC236}">
                <a16:creationId xmlns:a16="http://schemas.microsoft.com/office/drawing/2014/main" xmlns="" id="{26471EB3-D4BA-4764-947A-CFEFD3560307}"/>
              </a:ext>
            </a:extLst>
          </p:cNvPr>
          <p:cNvCxnSpPr/>
          <p:nvPr userDrawn="1"/>
        </p:nvCxnSpPr>
        <p:spPr>
          <a:xfrm>
            <a:off x="0" y="4343400"/>
            <a:ext cx="9144000" cy="0"/>
          </a:xfrm>
          <a:prstGeom prst="line">
            <a:avLst/>
          </a:prstGeom>
          <a:ln w="635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77230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369219"/>
            <a:ext cx="3886200" cy="32635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369219"/>
            <a:ext cx="3886200" cy="32635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61BEF0D-F0BB-DE4B-95CE-6DB70DBA9567}" type="datetimeFigureOut">
              <a:rPr lang="en-US" smtClean="0"/>
              <a:pPr/>
              <a:t>03/2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
        <p:nvSpPr>
          <p:cNvPr id="8" name="Rectangle 7" hidden="1">
            <a:extLst>
              <a:ext uri="{FF2B5EF4-FFF2-40B4-BE49-F238E27FC236}">
                <a16:creationId xmlns:a16="http://schemas.microsoft.com/office/drawing/2014/main" xmlns="" id="{E8662867-C2EE-46B8-B0EC-D138849B5EA1}"/>
              </a:ext>
            </a:extLst>
          </p:cNvPr>
          <p:cNvSpPr/>
          <p:nvPr userDrawn="1">
            <p:custDataLst>
              <p:tags r:id="rId1"/>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450" b="1" i="0" baseline="0">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1165292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61BEF0D-F0BB-DE4B-95CE-6DB70DBA9567}" type="datetimeFigureOut">
              <a:rPr lang="en-US" smtClean="0"/>
              <a:pPr/>
              <a:t>03/29/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pPr>
              <a:defRPr/>
            </a:pPr>
            <a:fld id="{D7CAADD3-329E-415F-932A-D24093DE457B}" type="slidenum">
              <a:rPr lang="en-US" altLang="en-US" smtClean="0"/>
              <a:pPr>
                <a:defRPr/>
              </a:pPr>
              <a:t>‹#›</a:t>
            </a:fld>
            <a:endParaRPr lang="en-US" altLang="en-US"/>
          </a:p>
        </p:txBody>
      </p:sp>
      <p:sp>
        <p:nvSpPr>
          <p:cNvPr id="10" name="Rectangle 9" hidden="1">
            <a:extLst>
              <a:ext uri="{FF2B5EF4-FFF2-40B4-BE49-F238E27FC236}">
                <a16:creationId xmlns:a16="http://schemas.microsoft.com/office/drawing/2014/main" xmlns="" id="{69B34F12-809B-4B0C-846F-D87698C01D2C}"/>
              </a:ext>
            </a:extLst>
          </p:cNvPr>
          <p:cNvSpPr/>
          <p:nvPr userDrawn="1">
            <p:custDataLst>
              <p:tags r:id="rId1"/>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450" b="1" i="0" baseline="0">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29448201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61BEF0D-F0BB-DE4B-95CE-6DB70DBA9567}" type="datetimeFigureOut">
              <a:rPr lang="en-US" smtClean="0"/>
              <a:pPr/>
              <a:t>03/2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
        <p:nvSpPr>
          <p:cNvPr id="6" name="Rectangle 5" hidden="1">
            <a:extLst>
              <a:ext uri="{FF2B5EF4-FFF2-40B4-BE49-F238E27FC236}">
                <a16:creationId xmlns:a16="http://schemas.microsoft.com/office/drawing/2014/main" xmlns="" id="{E8FC3F3B-FFBE-4884-877D-875214BCB300}"/>
              </a:ext>
            </a:extLst>
          </p:cNvPr>
          <p:cNvSpPr/>
          <p:nvPr userDrawn="1">
            <p:custDataLst>
              <p:tags r:id="rId1"/>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450" b="1" i="0" baseline="0">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3853107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pPr/>
              <a:t>03/29/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4015617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03/2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
        <p:nvSpPr>
          <p:cNvPr id="8" name="Rectangle 7" hidden="1">
            <a:extLst>
              <a:ext uri="{FF2B5EF4-FFF2-40B4-BE49-F238E27FC236}">
                <a16:creationId xmlns:a16="http://schemas.microsoft.com/office/drawing/2014/main" xmlns="" id="{A5357084-4FEE-47CC-92B9-388C3B2C8D42}"/>
              </a:ext>
            </a:extLst>
          </p:cNvPr>
          <p:cNvSpPr/>
          <p:nvPr userDrawn="1">
            <p:custDataLst>
              <p:tags r:id="rId1"/>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100" b="1" i="0" baseline="0">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7979538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a:defRPr/>
            </a:pPr>
            <a:fld id="{5B54FE36-D503-42E2-B07B-6D14ABB7B3DC}" type="datetimeFigureOut">
              <a:rPr lang="en-US" smtClean="0"/>
              <a:pPr>
                <a:defRPr/>
              </a:pPr>
              <a:t>03/29/2022</a:t>
            </a:fld>
            <a:endParaRPr lang="en-US"/>
          </a:p>
        </p:txBody>
      </p:sp>
      <p:sp>
        <p:nvSpPr>
          <p:cNvPr id="6" name="Footer Placeholder 5"/>
          <p:cNvSpPr>
            <a:spLocks noGrp="1"/>
          </p:cNvSpPr>
          <p:nvPr>
            <p:ph type="ftr" sz="quarter" idx="11"/>
          </p:nvPr>
        </p:nvSpPr>
        <p:spPr/>
        <p:txBody>
          <a:bodyPr/>
          <a:lstStyle/>
          <a:p>
            <a:pPr>
              <a:defRPr/>
            </a:pPr>
            <a:endParaRPr lang="en-US"/>
          </a:p>
        </p:txBody>
      </p:sp>
      <p:sp>
        <p:nvSpPr>
          <p:cNvPr id="7" name="Slide Number Placeholder 6"/>
          <p:cNvSpPr>
            <a:spLocks noGrp="1"/>
          </p:cNvSpPr>
          <p:nvPr>
            <p:ph type="sldNum" sz="quarter" idx="12"/>
          </p:nvPr>
        </p:nvSpPr>
        <p:spPr/>
        <p:txBody>
          <a:bodyPr/>
          <a:lstStyle/>
          <a:p>
            <a:pPr>
              <a:defRPr/>
            </a:pPr>
            <a:fld id="{CA845308-75CF-4A60-8C32-821E0B7AED68}" type="slidenum">
              <a:rPr lang="en-US" altLang="en-US" smtClean="0"/>
              <a:pPr>
                <a:defRPr/>
              </a:pPr>
              <a:t>‹#›</a:t>
            </a:fld>
            <a:endParaRPr lang="en-US" altLang="en-US"/>
          </a:p>
        </p:txBody>
      </p:sp>
      <p:sp>
        <p:nvSpPr>
          <p:cNvPr id="8" name="Rectangle 7" hidden="1">
            <a:extLst>
              <a:ext uri="{FF2B5EF4-FFF2-40B4-BE49-F238E27FC236}">
                <a16:creationId xmlns:a16="http://schemas.microsoft.com/office/drawing/2014/main" xmlns="" id="{1FB720ED-DE2D-4162-B30D-B4C3DE236D32}"/>
              </a:ext>
            </a:extLst>
          </p:cNvPr>
          <p:cNvSpPr/>
          <p:nvPr userDrawn="1">
            <p:custDataLst>
              <p:tags r:id="rId1"/>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450" b="1" i="0" baseline="0">
              <a:latin typeface="Trebuchet MS" panose="020B0603020202020204" pitchFamily="34" charset="0"/>
              <a:ea typeface="+mj-ea"/>
              <a:cs typeface="+mj-cs"/>
              <a:sym typeface="Trebuchet MS" panose="020B0603020202020204" pitchFamily="34" charset="0"/>
            </a:endParaRPr>
          </a:p>
        </p:txBody>
      </p:sp>
      <p:sp>
        <p:nvSpPr>
          <p:cNvPr id="9" name="Rectangle 8">
            <a:extLst>
              <a:ext uri="{FF2B5EF4-FFF2-40B4-BE49-F238E27FC236}">
                <a16:creationId xmlns:a16="http://schemas.microsoft.com/office/drawing/2014/main" xmlns="" id="{F2079ADA-37E0-4A2E-B02F-AA943020C6DB}"/>
              </a:ext>
            </a:extLst>
          </p:cNvPr>
          <p:cNvSpPr/>
          <p:nvPr userDrawn="1"/>
        </p:nvSpPr>
        <p:spPr>
          <a:xfrm>
            <a:off x="0" y="2900190"/>
            <a:ext cx="9144000" cy="224331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050"/>
          </a:p>
        </p:txBody>
      </p:sp>
      <p:sp>
        <p:nvSpPr>
          <p:cNvPr id="10" name="Rectangle 9">
            <a:extLst>
              <a:ext uri="{FF2B5EF4-FFF2-40B4-BE49-F238E27FC236}">
                <a16:creationId xmlns:a16="http://schemas.microsoft.com/office/drawing/2014/main" xmlns="" id="{3E457A0E-6675-451C-A8F6-03DF221E0C36}"/>
              </a:ext>
            </a:extLst>
          </p:cNvPr>
          <p:cNvSpPr/>
          <p:nvPr userDrawn="1"/>
        </p:nvSpPr>
        <p:spPr>
          <a:xfrm>
            <a:off x="0" y="0"/>
            <a:ext cx="9144000" cy="290019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050"/>
          </a:p>
        </p:txBody>
      </p:sp>
      <p:sp>
        <p:nvSpPr>
          <p:cNvPr id="11" name="Rectangle 10">
            <a:extLst>
              <a:ext uri="{FF2B5EF4-FFF2-40B4-BE49-F238E27FC236}">
                <a16:creationId xmlns:a16="http://schemas.microsoft.com/office/drawing/2014/main" xmlns="" id="{9BB27B9E-9672-42F1-9F2D-A873B0D715F4}"/>
              </a:ext>
            </a:extLst>
          </p:cNvPr>
          <p:cNvSpPr/>
          <p:nvPr userDrawn="1"/>
        </p:nvSpPr>
        <p:spPr>
          <a:xfrm>
            <a:off x="0" y="1989535"/>
            <a:ext cx="9144000" cy="17145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050"/>
          </a:p>
        </p:txBody>
      </p:sp>
      <p:sp>
        <p:nvSpPr>
          <p:cNvPr id="12" name="Oval 11">
            <a:extLst>
              <a:ext uri="{FF2B5EF4-FFF2-40B4-BE49-F238E27FC236}">
                <a16:creationId xmlns:a16="http://schemas.microsoft.com/office/drawing/2014/main" xmlns="" id="{BA760FDB-C560-4A46-A430-D07F2A7CC0BD}"/>
              </a:ext>
            </a:extLst>
          </p:cNvPr>
          <p:cNvSpPr/>
          <p:nvPr userDrawn="1"/>
        </p:nvSpPr>
        <p:spPr>
          <a:xfrm>
            <a:off x="0" y="1200150"/>
            <a:ext cx="9144000" cy="382905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050"/>
          </a:p>
        </p:txBody>
      </p:sp>
    </p:spTree>
    <p:extLst>
      <p:ext uri="{BB962C8B-B14F-4D97-AF65-F5344CB8AC3E}">
        <p14:creationId xmlns:p14="http://schemas.microsoft.com/office/powerpoint/2010/main" val="1593706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61BEF0D-F0BB-DE4B-95CE-6DB70DBA9567}" type="datetimeFigureOut">
              <a:rPr lang="en-US" smtClean="0"/>
              <a:pPr/>
              <a:t>03/29/2022</a:t>
            </a:fld>
            <a:endParaRPr lang="en-US" dirty="0"/>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D57F1E4F-1CFF-5643-939E-217C01CDF565}" type="slidenum">
              <a:rPr lang="en-US" smtClean="0"/>
              <a:pPr/>
              <a:t>‹#›</a:t>
            </a:fld>
            <a:endParaRPr lang="en-US" dirty="0"/>
          </a:p>
        </p:txBody>
      </p:sp>
      <p:graphicFrame>
        <p:nvGraphicFramePr>
          <p:cNvPr id="7" name="Object 6" hidden="1">
            <a:extLst>
              <a:ext uri="{FF2B5EF4-FFF2-40B4-BE49-F238E27FC236}">
                <a16:creationId xmlns:a16="http://schemas.microsoft.com/office/drawing/2014/main" xmlns="" id="{F2E8CFD0-FB8A-4174-839A-2F7B62CC9309}"/>
              </a:ext>
            </a:extLst>
          </p:cNvPr>
          <p:cNvGraphicFramePr>
            <a:graphicFrameLocks noChangeAspect="1"/>
          </p:cNvGraphicFramePr>
          <p:nvPr userDrawn="1">
            <p:custDataLst>
              <p:tags r:id="rId16"/>
            </p:custDataLst>
            <p:extLst>
              <p:ext uri="{D42A27DB-BD31-4B8C-83A1-F6EECF244321}">
                <p14:modId xmlns:p14="http://schemas.microsoft.com/office/powerpoint/2010/main" val="235160151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105" name="think-cell Slide" r:id="rId18" imgW="473" imgH="473" progId="TCLayout.ActiveDocument.1">
                  <p:embed/>
                </p:oleObj>
              </mc:Choice>
              <mc:Fallback>
                <p:oleObj name="think-cell Slide" r:id="rId18" imgW="473" imgH="473" progId="TCLayout.ActiveDocument.1">
                  <p:embed/>
                  <p:pic>
                    <p:nvPicPr>
                      <p:cNvPr id="0" name=""/>
                      <p:cNvPicPr/>
                      <p:nvPr/>
                    </p:nvPicPr>
                    <p:blipFill>
                      <a:blip r:embed="rId19"/>
                      <a:stretch>
                        <a:fillRect/>
                      </a:stretch>
                    </p:blipFill>
                    <p:spPr>
                      <a:xfrm>
                        <a:off x="1191" y="1191"/>
                        <a:ext cx="1191" cy="1191"/>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834C4375-9E5A-4EC3-A5C6-C62C30A6E25F}"/>
              </a:ext>
            </a:extLst>
          </p:cNvPr>
          <p:cNvSpPr/>
          <p:nvPr userDrawn="1">
            <p:custDataLst>
              <p:tags r:id="rId17"/>
            </p:custDataLst>
          </p:nvPr>
        </p:nvSpPr>
        <p:spPr>
          <a:xfrm>
            <a:off x="1"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50" b="1" i="0" baseline="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9" name="Rectangle 8">
            <a:extLst>
              <a:ext uri="{FF2B5EF4-FFF2-40B4-BE49-F238E27FC236}">
                <a16:creationId xmlns:a16="http://schemas.microsoft.com/office/drawing/2014/main" xmlns="" id="{2B31B58B-1962-4D15-B432-304C1CE14063}"/>
              </a:ext>
            </a:extLst>
          </p:cNvPr>
          <p:cNvSpPr/>
          <p:nvPr userDrawn="1"/>
        </p:nvSpPr>
        <p:spPr>
          <a:xfrm>
            <a:off x="0" y="0"/>
            <a:ext cx="9144000" cy="914400"/>
          </a:xfrm>
          <a:prstGeom prst="rect">
            <a:avLst/>
          </a:prstGeom>
          <a:solidFill>
            <a:schemeClr val="bg1"/>
          </a:solidFill>
          <a:ln>
            <a:noFill/>
          </a:ln>
          <a:effectLst>
            <a:outerShdw dist="50800" dir="5400000" algn="ctr" rotWithShape="0">
              <a:srgbClr val="000000">
                <a:alpha val="0"/>
              </a:srgb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200" i="1">
              <a:solidFill>
                <a:schemeClr val="accent4"/>
              </a:solidFill>
            </a:endParaRPr>
          </a:p>
        </p:txBody>
      </p:sp>
    </p:spTree>
    <p:extLst>
      <p:ext uri="{BB962C8B-B14F-4D97-AF65-F5344CB8AC3E}">
        <p14:creationId xmlns:p14="http://schemas.microsoft.com/office/powerpoint/2010/main" val="92252423"/>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3685" r:id="rId12"/>
    <p:sldLayoutId id="2147483686" r:id="rId1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sz="1600" dirty="0" smtClean="0">
                <a:latin typeface="Times New Roman" panose="02020603050405020304" pitchFamily="18" charset="0"/>
                <a:cs typeface="Times New Roman" panose="02020603050405020304" pitchFamily="18" charset="0"/>
              </a:rPr>
              <a:t>Department of Children &amp; Families (DCF)</a:t>
            </a:r>
            <a:br>
              <a:rPr lang="en-US" sz="1600" dirty="0" smtClean="0">
                <a:latin typeface="Times New Roman" panose="02020603050405020304" pitchFamily="18" charset="0"/>
                <a:cs typeface="Times New Roman" panose="02020603050405020304" pitchFamily="18" charset="0"/>
              </a:rPr>
            </a:br>
            <a:r>
              <a:rPr lang="en-US" sz="1600" dirty="0" smtClean="0">
                <a:latin typeface="Times New Roman" panose="02020603050405020304" pitchFamily="18" charset="0"/>
                <a:cs typeface="Times New Roman" panose="02020603050405020304" pitchFamily="18" charset="0"/>
              </a:rPr>
              <a:t>Department of Developmental Services (DDS)</a:t>
            </a:r>
            <a:br>
              <a:rPr lang="en-US" sz="1600" dirty="0" smtClean="0">
                <a:latin typeface="Times New Roman" panose="02020603050405020304" pitchFamily="18" charset="0"/>
                <a:cs typeface="Times New Roman" panose="02020603050405020304" pitchFamily="18" charset="0"/>
              </a:rPr>
            </a:br>
            <a:r>
              <a:rPr lang="en-US" sz="1600" dirty="0" smtClean="0">
                <a:latin typeface="Times New Roman" panose="02020603050405020304" pitchFamily="18" charset="0"/>
                <a:cs typeface="Times New Roman" panose="02020603050405020304" pitchFamily="18" charset="0"/>
              </a:rPr>
              <a:t>Department of Public Health (DPH)</a:t>
            </a:r>
            <a:endParaRPr lang="en-US" sz="1600" dirty="0">
              <a:latin typeface="Times New Roman" panose="02020603050405020304" pitchFamily="18" charset="0"/>
              <a:cs typeface="Times New Roman" panose="02020603050405020304" pitchFamily="18" charset="0"/>
            </a:endParaRPr>
          </a:p>
        </p:txBody>
      </p:sp>
      <p:sp>
        <p:nvSpPr>
          <p:cNvPr id="3" name="Text Placeholder 2"/>
          <p:cNvSpPr>
            <a:spLocks noGrp="1"/>
          </p:cNvSpPr>
          <p:nvPr>
            <p:ph type="body" sz="half" idx="2"/>
          </p:nvPr>
        </p:nvSpPr>
        <p:spPr/>
        <p:txBody>
          <a:bodyPr>
            <a:normAutofit/>
          </a:bodyPr>
          <a:lstStyle/>
          <a:p>
            <a:pPr marL="0" indent="0">
              <a:buNone/>
            </a:pPr>
            <a:r>
              <a:rPr lang="en-US" sz="2400" b="1" dirty="0" smtClean="0">
                <a:latin typeface="Times New Roman" panose="02020603050405020304" pitchFamily="18" charset="0"/>
                <a:cs typeface="Times New Roman" panose="02020603050405020304" pitchFamily="18" charset="0"/>
              </a:rPr>
              <a:t>Uniform </a:t>
            </a:r>
            <a:r>
              <a:rPr lang="en-US" sz="2400" b="1" dirty="0">
                <a:latin typeface="Times New Roman" panose="02020603050405020304" pitchFamily="18" charset="0"/>
                <a:cs typeface="Times New Roman" panose="02020603050405020304" pitchFamily="18" charset="0"/>
              </a:rPr>
              <a:t>Interagency Medication Administration Training </a:t>
            </a:r>
            <a:r>
              <a:rPr lang="en-US" sz="2400" b="1" dirty="0" smtClean="0">
                <a:latin typeface="Times New Roman" panose="02020603050405020304" pitchFamily="18" charset="0"/>
                <a:cs typeface="Times New Roman" panose="02020603050405020304" pitchFamily="18" charset="0"/>
              </a:rPr>
              <a:t>Program</a:t>
            </a:r>
          </a:p>
          <a:p>
            <a:pPr marL="0" indent="0">
              <a:buNone/>
            </a:pPr>
            <a:r>
              <a:rPr lang="en-US" sz="2400" b="1" dirty="0" smtClean="0">
                <a:latin typeface="Times New Roman" panose="02020603050405020304" pitchFamily="18" charset="0"/>
                <a:cs typeface="Times New Roman" panose="02020603050405020304" pitchFamily="18" charset="0"/>
              </a:rPr>
              <a:t>Go Live: April 2022</a:t>
            </a:r>
            <a:endParaRPr lang="en-US" sz="2400" b="1" dirty="0">
              <a:latin typeface="Times New Roman" panose="02020603050405020304" pitchFamily="18" charset="0"/>
              <a:cs typeface="Times New Roman" panose="02020603050405020304" pitchFamily="18" charset="0"/>
            </a:endParaRPr>
          </a:p>
        </p:txBody>
      </p:sp>
      <p:sp>
        <p:nvSpPr>
          <p:cNvPr id="5" name="Picture Placeholder 1"/>
          <p:cNvSpPr txBox="1">
            <a:spLocks/>
          </p:cNvSpPr>
          <p:nvPr/>
        </p:nvSpPr>
        <p:spPr>
          <a:xfrm>
            <a:off x="4396234" y="857250"/>
            <a:ext cx="4114800" cy="2345855"/>
          </a:xfrm>
          <a:prstGeom prst="roundRect">
            <a:avLst>
              <a:gd name="adj" fmla="val 4230"/>
            </a:avLst>
          </a:prstGeom>
          <a:solidFill>
            <a:schemeClr val="bg2">
              <a:lumMod val="90000"/>
            </a:schemeClr>
          </a:solidFill>
          <a:effectLst>
            <a:reflection blurRad="4350" stA="23000" endA="300" endPos="28000" dir="5400000" sy="-100000" algn="bl" rotWithShape="0"/>
          </a:effectLst>
          <a:scene3d>
            <a:camera prst="perspectiveContrastingLeftFacing" fov="1800000">
              <a:rot lat="300000" lon="2100000" rev="0"/>
            </a:camera>
            <a:lightRig rig="balanced" dir="t"/>
          </a:scene3d>
          <a:sp3d>
            <a:bevelT w="50800" h="50800"/>
          </a:sp3d>
        </p:spPr>
      </p:sp>
      <p:pic>
        <p:nvPicPr>
          <p:cNvPr id="6" name="Picture 5" descr="A picture containing porcelain&#10;&#10;Description automatically generated"/>
          <p:cNvPicPr/>
          <p:nvPr/>
        </p:nvPicPr>
        <p:blipFill>
          <a:blip r:embed="rId2" cstate="print">
            <a:extLst>
              <a:ext uri="{28A0092B-C50C-407E-A947-70E740481C1C}">
                <a14:useLocalDpi xmlns:a14="http://schemas.microsoft.com/office/drawing/2010/main" val="0"/>
              </a:ext>
            </a:extLst>
          </a:blip>
          <a:stretch>
            <a:fillRect/>
          </a:stretch>
        </p:blipFill>
        <p:spPr>
          <a:xfrm>
            <a:off x="4800600" y="735107"/>
            <a:ext cx="3470563" cy="2590139"/>
          </a:xfrm>
          <a:prstGeom prst="rect">
            <a:avLst/>
          </a:prstGeom>
        </p:spPr>
      </p:pic>
    </p:spTree>
    <p:extLst>
      <p:ext uri="{BB962C8B-B14F-4D97-AF65-F5344CB8AC3E}">
        <p14:creationId xmlns:p14="http://schemas.microsoft.com/office/powerpoint/2010/main" val="314835981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ints to Remember</a:t>
            </a:r>
            <a:endParaRPr lang="en-US" dirty="0"/>
          </a:p>
        </p:txBody>
      </p:sp>
      <p:sp>
        <p:nvSpPr>
          <p:cNvPr id="3" name="Content Placeholder 2"/>
          <p:cNvSpPr>
            <a:spLocks noGrp="1"/>
          </p:cNvSpPr>
          <p:nvPr>
            <p:ph idx="1"/>
          </p:nvPr>
        </p:nvSpPr>
        <p:spPr/>
        <p:txBody>
          <a:bodyPr>
            <a:normAutofit/>
          </a:bodyPr>
          <a:lstStyle/>
          <a:p>
            <a:r>
              <a:rPr lang="en-US" dirty="0" smtClean="0"/>
              <a:t>The </a:t>
            </a:r>
            <a:r>
              <a:rPr lang="en-US" dirty="0"/>
              <a:t>Learner is responsible for contacting the sponsor agency (Residential Care Home, Person in Charge) of their successful completion of the on-line training. </a:t>
            </a:r>
          </a:p>
          <a:p>
            <a:r>
              <a:rPr lang="en-US" dirty="0"/>
              <a:t>The sponsor agency arranges for the proctored final exam.  </a:t>
            </a:r>
            <a:endParaRPr lang="en-US" dirty="0" smtClean="0"/>
          </a:p>
          <a:p>
            <a:r>
              <a:rPr lang="en-US" dirty="0" smtClean="0"/>
              <a:t>100 Question exam that will be ready for on line soon.</a:t>
            </a:r>
          </a:p>
          <a:p>
            <a:r>
              <a:rPr lang="en-US" dirty="0" smtClean="0"/>
              <a:t>85% passing grade</a:t>
            </a:r>
          </a:p>
          <a:p>
            <a:r>
              <a:rPr lang="en-US" dirty="0" smtClean="0"/>
              <a:t>Exam is proctored</a:t>
            </a:r>
            <a:endParaRPr lang="en-US" dirty="0"/>
          </a:p>
          <a:p>
            <a:pPr marL="34528" indent="0">
              <a:buNone/>
            </a:pPr>
            <a:r>
              <a:rPr lang="en-US" dirty="0"/>
              <a:t> </a:t>
            </a:r>
          </a:p>
          <a:p>
            <a:endParaRPr lang="en-US" dirty="0"/>
          </a:p>
          <a:p>
            <a:endParaRPr lang="en-US" dirty="0"/>
          </a:p>
          <a:p>
            <a:endParaRPr lang="en-US" dirty="0"/>
          </a:p>
        </p:txBody>
      </p:sp>
    </p:spTree>
    <p:extLst>
      <p:ext uri="{BB962C8B-B14F-4D97-AF65-F5344CB8AC3E}">
        <p14:creationId xmlns:p14="http://schemas.microsoft.com/office/powerpoint/2010/main" val="102344817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ints to Remember</a:t>
            </a:r>
            <a:endParaRPr lang="en-US" dirty="0"/>
          </a:p>
        </p:txBody>
      </p:sp>
      <p:sp>
        <p:nvSpPr>
          <p:cNvPr id="3" name="Content Placeholder 2"/>
          <p:cNvSpPr>
            <a:spLocks noGrp="1"/>
          </p:cNvSpPr>
          <p:nvPr>
            <p:ph idx="1"/>
          </p:nvPr>
        </p:nvSpPr>
        <p:spPr/>
        <p:txBody>
          <a:bodyPr/>
          <a:lstStyle/>
          <a:p>
            <a:r>
              <a:rPr lang="en-US" dirty="0"/>
              <a:t>Upon successful completion of the final exam, the learner moves on to Phase 2.  </a:t>
            </a:r>
          </a:p>
          <a:p>
            <a:r>
              <a:rPr lang="en-US" dirty="0"/>
              <a:t>If the learner fails the exam they must contact the sponsor agency for next steps.  Retaking the exam and/or the course is an option.   </a:t>
            </a:r>
          </a:p>
          <a:p>
            <a:r>
              <a:rPr lang="en-US" dirty="0"/>
              <a:t>Phase 2: Each sponsor agency has developed individual policies that direct Phase 2 activities.  </a:t>
            </a:r>
          </a:p>
          <a:p>
            <a:pPr marL="34528" indent="0">
              <a:buNone/>
            </a:pPr>
            <a:endParaRPr lang="en-US" dirty="0"/>
          </a:p>
        </p:txBody>
      </p:sp>
    </p:spTree>
    <p:extLst>
      <p:ext uri="{BB962C8B-B14F-4D97-AF65-F5344CB8AC3E}">
        <p14:creationId xmlns:p14="http://schemas.microsoft.com/office/powerpoint/2010/main" val="261164515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hase One</a:t>
            </a:r>
            <a:endParaRPr lang="en-US" dirty="0"/>
          </a:p>
        </p:txBody>
      </p:sp>
      <p:sp>
        <p:nvSpPr>
          <p:cNvPr id="3" name="Content Placeholder 2"/>
          <p:cNvSpPr>
            <a:spLocks noGrp="1"/>
          </p:cNvSpPr>
          <p:nvPr>
            <p:ph idx="1"/>
          </p:nvPr>
        </p:nvSpPr>
        <p:spPr/>
        <p:txBody>
          <a:bodyPr/>
          <a:lstStyle/>
          <a:p>
            <a:r>
              <a:rPr lang="en-US" dirty="0" smtClean="0"/>
              <a:t>The </a:t>
            </a:r>
            <a:r>
              <a:rPr lang="en-US" dirty="0"/>
              <a:t>learner </a:t>
            </a:r>
            <a:r>
              <a:rPr lang="en-US" b="1" dirty="0"/>
              <a:t>registers through CT </a:t>
            </a:r>
            <a:r>
              <a:rPr lang="en-US" b="1" dirty="0" err="1"/>
              <a:t>Train</a:t>
            </a:r>
            <a:r>
              <a:rPr lang="en-US" dirty="0" err="1"/>
              <a:t>.Demographic</a:t>
            </a:r>
            <a:r>
              <a:rPr lang="en-US" dirty="0"/>
              <a:t> information is collected as required by CT </a:t>
            </a:r>
            <a:r>
              <a:rPr lang="en-US" dirty="0" err="1"/>
              <a:t>Train.https</a:t>
            </a:r>
            <a:r>
              <a:rPr lang="en-US" dirty="0"/>
              <a:t>://ct.train.org/</a:t>
            </a:r>
            <a:r>
              <a:rPr lang="en-US" dirty="0" err="1"/>
              <a:t>connecticut</a:t>
            </a:r>
            <a:endParaRPr lang="en-US" dirty="0"/>
          </a:p>
          <a:p>
            <a:r>
              <a:rPr lang="en-US" dirty="0" smtClean="0"/>
              <a:t>Learner </a:t>
            </a:r>
            <a:r>
              <a:rPr lang="en-US" dirty="0"/>
              <a:t>will need to </a:t>
            </a:r>
            <a:r>
              <a:rPr lang="en-US" b="1" dirty="0"/>
              <a:t>Create an Account </a:t>
            </a:r>
            <a:r>
              <a:rPr lang="en-US" dirty="0"/>
              <a:t>to gain access to the course</a:t>
            </a:r>
          </a:p>
          <a:p>
            <a:r>
              <a:rPr lang="en-US" dirty="0" smtClean="0"/>
              <a:t>Course </a:t>
            </a:r>
            <a:r>
              <a:rPr lang="en-US" dirty="0"/>
              <a:t>Title: State of Connecticut Medication Administration Training -Phase 1</a:t>
            </a:r>
          </a:p>
          <a:p>
            <a:r>
              <a:rPr lang="en-US" dirty="0" smtClean="0"/>
              <a:t>Course </a:t>
            </a:r>
            <a:r>
              <a:rPr lang="en-US" dirty="0"/>
              <a:t>ID#: 1101521</a:t>
            </a:r>
          </a:p>
          <a:p>
            <a:r>
              <a:rPr lang="en-US" dirty="0" smtClean="0"/>
              <a:t>Pass </a:t>
            </a:r>
            <a:r>
              <a:rPr lang="en-US" dirty="0"/>
              <a:t>Code for Registration: DDSDCFDPH</a:t>
            </a:r>
          </a:p>
          <a:p>
            <a:endParaRPr lang="en-US" dirty="0"/>
          </a:p>
        </p:txBody>
      </p:sp>
    </p:spTree>
    <p:extLst>
      <p:ext uri="{BB962C8B-B14F-4D97-AF65-F5344CB8AC3E}">
        <p14:creationId xmlns:p14="http://schemas.microsoft.com/office/powerpoint/2010/main" val="182357851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 </a:t>
            </a:r>
            <a:r>
              <a:rPr lang="en-US" sz="2700" dirty="0"/>
              <a:t>Step-by-Step on How to Launch the Online CT Train Course </a:t>
            </a:r>
          </a:p>
        </p:txBody>
      </p:sp>
      <p:pic>
        <p:nvPicPr>
          <p:cNvPr id="7" name="Content Placeholder 6"/>
          <p:cNvPicPr>
            <a:picLocks noGrp="1" noChangeAspect="1"/>
          </p:cNvPicPr>
          <p:nvPr>
            <p:ph idx="1"/>
          </p:nvPr>
        </p:nvPicPr>
        <p:blipFill>
          <a:blip r:embed="rId2"/>
          <a:stretch>
            <a:fillRect/>
          </a:stretch>
        </p:blipFill>
        <p:spPr>
          <a:xfrm>
            <a:off x="628650" y="1453141"/>
            <a:ext cx="7886700" cy="3262312"/>
          </a:xfrm>
          <a:prstGeom prst="rect">
            <a:avLst/>
          </a:prstGeom>
        </p:spPr>
      </p:pic>
    </p:spTree>
    <p:extLst>
      <p:ext uri="{BB962C8B-B14F-4D97-AF65-F5344CB8AC3E}">
        <p14:creationId xmlns:p14="http://schemas.microsoft.com/office/powerpoint/2010/main" val="297551518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T Train</a:t>
            </a:r>
            <a:endParaRPr lang="en-US" dirty="0"/>
          </a:p>
        </p:txBody>
      </p:sp>
      <p:pic>
        <p:nvPicPr>
          <p:cNvPr id="4" name="Content Placeholder 3"/>
          <p:cNvPicPr>
            <a:picLocks noGrp="1" noChangeAspect="1"/>
          </p:cNvPicPr>
          <p:nvPr>
            <p:ph idx="1"/>
          </p:nvPr>
        </p:nvPicPr>
        <p:blipFill>
          <a:blip r:embed="rId2"/>
          <a:stretch>
            <a:fillRect/>
          </a:stretch>
        </p:blipFill>
        <p:spPr>
          <a:xfrm>
            <a:off x="1684777" y="1370013"/>
            <a:ext cx="5774446" cy="3262312"/>
          </a:xfrm>
          <a:prstGeom prst="rect">
            <a:avLst/>
          </a:prstGeom>
        </p:spPr>
      </p:pic>
    </p:spTree>
    <p:extLst>
      <p:ext uri="{BB962C8B-B14F-4D97-AF65-F5344CB8AC3E}">
        <p14:creationId xmlns:p14="http://schemas.microsoft.com/office/powerpoint/2010/main" val="46384922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Step-by-Step on How to Launch the Online CT Train Course</a:t>
            </a:r>
            <a:endParaRPr lang="en-US" sz="2400" dirty="0"/>
          </a:p>
        </p:txBody>
      </p:sp>
      <p:pic>
        <p:nvPicPr>
          <p:cNvPr id="4" name="Content Placeholder 3"/>
          <p:cNvPicPr>
            <a:picLocks noGrp="1" noChangeAspect="1"/>
          </p:cNvPicPr>
          <p:nvPr>
            <p:ph idx="1"/>
          </p:nvPr>
        </p:nvPicPr>
        <p:blipFill>
          <a:blip r:embed="rId2"/>
          <a:stretch>
            <a:fillRect/>
          </a:stretch>
        </p:blipFill>
        <p:spPr>
          <a:xfrm>
            <a:off x="673677" y="976745"/>
            <a:ext cx="7841673" cy="3814907"/>
          </a:xfrm>
          <a:prstGeom prst="rect">
            <a:avLst/>
          </a:prstGeom>
        </p:spPr>
      </p:pic>
    </p:spTree>
    <p:extLst>
      <p:ext uri="{BB962C8B-B14F-4D97-AF65-F5344CB8AC3E}">
        <p14:creationId xmlns:p14="http://schemas.microsoft.com/office/powerpoint/2010/main" val="164744629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Step-by-Step on How to Launch the Online CT Train Course</a:t>
            </a:r>
            <a:endParaRPr lang="en-US" sz="2400" dirty="0"/>
          </a:p>
        </p:txBody>
      </p:sp>
      <p:pic>
        <p:nvPicPr>
          <p:cNvPr id="4" name="Content Placeholder 3"/>
          <p:cNvPicPr>
            <a:picLocks noGrp="1" noChangeAspect="1"/>
          </p:cNvPicPr>
          <p:nvPr>
            <p:ph idx="1"/>
          </p:nvPr>
        </p:nvPicPr>
        <p:blipFill>
          <a:blip r:embed="rId2"/>
          <a:stretch>
            <a:fillRect/>
          </a:stretch>
        </p:blipFill>
        <p:spPr>
          <a:xfrm>
            <a:off x="277091" y="1268016"/>
            <a:ext cx="8181327" cy="3622638"/>
          </a:xfrm>
          <a:prstGeom prst="rect">
            <a:avLst/>
          </a:prstGeom>
        </p:spPr>
      </p:pic>
    </p:spTree>
    <p:extLst>
      <p:ext uri="{BB962C8B-B14F-4D97-AF65-F5344CB8AC3E}">
        <p14:creationId xmlns:p14="http://schemas.microsoft.com/office/powerpoint/2010/main" val="357256931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Step-by-Step on How to Launch the Online CT Train Course</a:t>
            </a:r>
            <a:endParaRPr lang="en-US" sz="2400" dirty="0"/>
          </a:p>
        </p:txBody>
      </p:sp>
      <p:sp>
        <p:nvSpPr>
          <p:cNvPr id="3" name="Content Placeholder 2"/>
          <p:cNvSpPr>
            <a:spLocks noGrp="1"/>
          </p:cNvSpPr>
          <p:nvPr>
            <p:ph idx="1"/>
          </p:nvPr>
        </p:nvSpPr>
        <p:spPr/>
        <p:txBody>
          <a:bodyPr/>
          <a:lstStyle/>
          <a:p>
            <a:pPr marL="0" indent="0">
              <a:buNone/>
            </a:pPr>
            <a:r>
              <a:rPr lang="en-US" dirty="0" smtClean="0"/>
              <a:t>Step </a:t>
            </a:r>
            <a:r>
              <a:rPr lang="en-US" dirty="0"/>
              <a:t>5: CT Train will then prompt you to enter a “Registration Code”. </a:t>
            </a:r>
            <a:endParaRPr lang="en-US" dirty="0" smtClean="0"/>
          </a:p>
          <a:p>
            <a:pPr marL="0" indent="0">
              <a:buNone/>
            </a:pPr>
            <a:endParaRPr lang="en-US" dirty="0"/>
          </a:p>
        </p:txBody>
      </p:sp>
      <p:pic>
        <p:nvPicPr>
          <p:cNvPr id="4" name="Picture 3"/>
          <p:cNvPicPr>
            <a:picLocks noChangeAspect="1"/>
          </p:cNvPicPr>
          <p:nvPr/>
        </p:nvPicPr>
        <p:blipFill>
          <a:blip r:embed="rId2"/>
          <a:stretch>
            <a:fillRect/>
          </a:stretch>
        </p:blipFill>
        <p:spPr>
          <a:xfrm>
            <a:off x="178378" y="1710703"/>
            <a:ext cx="9144000" cy="3432797"/>
          </a:xfrm>
          <a:prstGeom prst="rect">
            <a:avLst/>
          </a:prstGeom>
        </p:spPr>
      </p:pic>
    </p:spTree>
    <p:extLst>
      <p:ext uri="{BB962C8B-B14F-4D97-AF65-F5344CB8AC3E}">
        <p14:creationId xmlns:p14="http://schemas.microsoft.com/office/powerpoint/2010/main" val="98128969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Step-by-Step on How to Launch the Online CT Train Course</a:t>
            </a:r>
            <a:endParaRPr lang="en-US" sz="2400" dirty="0"/>
          </a:p>
        </p:txBody>
      </p:sp>
      <p:pic>
        <p:nvPicPr>
          <p:cNvPr id="4" name="Content Placeholder 3"/>
          <p:cNvPicPr>
            <a:picLocks noGrp="1" noChangeAspect="1"/>
          </p:cNvPicPr>
          <p:nvPr>
            <p:ph idx="1"/>
          </p:nvPr>
        </p:nvPicPr>
        <p:blipFill>
          <a:blip r:embed="rId2"/>
          <a:stretch>
            <a:fillRect/>
          </a:stretch>
        </p:blipFill>
        <p:spPr>
          <a:xfrm>
            <a:off x="709905" y="1370013"/>
            <a:ext cx="7724190" cy="3262312"/>
          </a:xfrm>
          <a:prstGeom prst="rect">
            <a:avLst/>
          </a:prstGeom>
        </p:spPr>
      </p:pic>
    </p:spTree>
    <p:extLst>
      <p:ext uri="{BB962C8B-B14F-4D97-AF65-F5344CB8AC3E}">
        <p14:creationId xmlns:p14="http://schemas.microsoft.com/office/powerpoint/2010/main" val="227235604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Step-by-Step on How to Launch the Online CT Train Course</a:t>
            </a:r>
            <a:endParaRPr lang="en-US" sz="2400" dirty="0"/>
          </a:p>
        </p:txBody>
      </p:sp>
      <p:sp>
        <p:nvSpPr>
          <p:cNvPr id="3" name="Content Placeholder 2"/>
          <p:cNvSpPr>
            <a:spLocks noGrp="1"/>
          </p:cNvSpPr>
          <p:nvPr>
            <p:ph idx="1"/>
          </p:nvPr>
        </p:nvSpPr>
        <p:spPr/>
        <p:txBody>
          <a:bodyPr/>
          <a:lstStyle/>
          <a:p>
            <a:pPr marL="0" indent="0">
              <a:buNone/>
            </a:pPr>
            <a:r>
              <a:rPr lang="en-US" dirty="0" smtClean="0"/>
              <a:t>Step 6b, Confirm the statement</a:t>
            </a:r>
          </a:p>
          <a:p>
            <a:pPr marL="0" indent="0">
              <a:buNone/>
            </a:pPr>
            <a:endParaRPr lang="en-US" dirty="0"/>
          </a:p>
        </p:txBody>
      </p:sp>
      <p:pic>
        <p:nvPicPr>
          <p:cNvPr id="4" name="Picture 3"/>
          <p:cNvPicPr>
            <a:picLocks noChangeAspect="1"/>
          </p:cNvPicPr>
          <p:nvPr/>
        </p:nvPicPr>
        <p:blipFill>
          <a:blip r:embed="rId2"/>
          <a:stretch>
            <a:fillRect/>
          </a:stretch>
        </p:blipFill>
        <p:spPr>
          <a:xfrm>
            <a:off x="0" y="1869986"/>
            <a:ext cx="9144000" cy="2955235"/>
          </a:xfrm>
          <a:prstGeom prst="rect">
            <a:avLst/>
          </a:prstGeom>
        </p:spPr>
      </p:pic>
    </p:spTree>
    <p:extLst>
      <p:ext uri="{BB962C8B-B14F-4D97-AF65-F5344CB8AC3E}">
        <p14:creationId xmlns:p14="http://schemas.microsoft.com/office/powerpoint/2010/main" val="377036147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extLst>
          </p:cNvPr>
          <p:cNvSpPr>
            <a:spLocks noGrp="1"/>
          </p:cNvSpPr>
          <p:nvPr>
            <p:ph type="title"/>
          </p:nvPr>
        </p:nvSpPr>
        <p:spPr>
          <a:xfrm>
            <a:off x="1309928" y="0"/>
            <a:ext cx="6515100" cy="970359"/>
          </a:xfrm>
        </p:spPr>
        <p:txBody>
          <a:bodyPr/>
          <a:lstStyle/>
          <a:p>
            <a:pPr algn="ctr">
              <a:defRPr/>
            </a:pPr>
            <a:r>
              <a:rPr lang="en-US" dirty="0" smtClean="0"/>
              <a:t>Special Act 17-21 </a:t>
            </a:r>
            <a:endParaRPr lang="en-US" dirty="0"/>
          </a:p>
        </p:txBody>
      </p:sp>
      <p:sp>
        <p:nvSpPr>
          <p:cNvPr id="22531" name="Content Placeholder 2">
            <a:extLst>
              <a:ext uri="{FF2B5EF4-FFF2-40B4-BE49-F238E27FC236}"/>
            </a:extLst>
          </p:cNvPr>
          <p:cNvSpPr>
            <a:spLocks noGrp="1"/>
          </p:cNvSpPr>
          <p:nvPr>
            <p:ph idx="1"/>
          </p:nvPr>
        </p:nvSpPr>
        <p:spPr>
          <a:xfrm>
            <a:off x="1531144" y="1314450"/>
            <a:ext cx="5967413" cy="3429000"/>
          </a:xfrm>
          <a:prstGeom prst="rect">
            <a:avLst/>
          </a:prstGeom>
        </p:spPr>
        <p:txBody>
          <a:bodyPr/>
          <a:lstStyle/>
          <a:p>
            <a:pPr>
              <a:spcAft>
                <a:spcPts val="750"/>
              </a:spcAft>
              <a:defRPr/>
            </a:pPr>
            <a:r>
              <a:rPr lang="en-US" altLang="en-US" sz="1500" dirty="0"/>
              <a:t>OPM </a:t>
            </a:r>
            <a:r>
              <a:rPr lang="en-US" altLang="en-US" sz="1500" dirty="0" smtClean="0"/>
              <a:t>convened </a:t>
            </a:r>
            <a:r>
              <a:rPr lang="en-US" altLang="en-US" sz="1500" dirty="0"/>
              <a:t>a workgroup to conduct a review of the certification and licensure processes of certain nonprofit community providers, and study potential efficiencies.  </a:t>
            </a:r>
          </a:p>
          <a:p>
            <a:pPr>
              <a:spcAft>
                <a:spcPts val="750"/>
              </a:spcAft>
              <a:defRPr/>
            </a:pPr>
            <a:r>
              <a:rPr lang="en-US" altLang="en-US" sz="1500" dirty="0"/>
              <a:t>Membership </a:t>
            </a:r>
            <a:r>
              <a:rPr lang="en-US" altLang="en-US" sz="1500" dirty="0" smtClean="0"/>
              <a:t>consisted of </a:t>
            </a:r>
            <a:r>
              <a:rPr lang="en-US" altLang="en-US" sz="1500" dirty="0"/>
              <a:t>six representatives of non-profit community providers and two representatives from DCF, DDS, DMHAS and DPH.  </a:t>
            </a:r>
          </a:p>
          <a:p>
            <a:pPr>
              <a:spcAft>
                <a:spcPts val="750"/>
              </a:spcAft>
              <a:defRPr/>
            </a:pPr>
            <a:r>
              <a:rPr lang="en-US" altLang="en-US" sz="1500" dirty="0"/>
              <a:t>A progress report and final </a:t>
            </a:r>
            <a:r>
              <a:rPr lang="en-US" altLang="en-US" sz="1500" dirty="0" smtClean="0"/>
              <a:t>report was submitted </a:t>
            </a:r>
            <a:r>
              <a:rPr lang="en-US" altLang="en-US" sz="1500" dirty="0"/>
              <a:t>to the legislature.</a:t>
            </a:r>
          </a:p>
          <a:p>
            <a:pPr marL="0" indent="0" algn="ctr">
              <a:buNone/>
              <a:defRPr/>
            </a:pPr>
            <a:r>
              <a:rPr lang="en-US" altLang="en-US" sz="1800" b="1" dirty="0"/>
              <a:t>SCOPE</a:t>
            </a:r>
          </a:p>
          <a:p>
            <a:pPr>
              <a:defRPr/>
            </a:pPr>
            <a:r>
              <a:rPr lang="en-US" altLang="en-US" sz="1500" dirty="0"/>
              <a:t>Steps in preparing, scheduling, executing and reporting of site visits for initial licensing applications and renewals. </a:t>
            </a:r>
            <a:endParaRPr lang="en-US" altLang="en-US" sz="1500" dirty="0" smtClean="0"/>
          </a:p>
          <a:p>
            <a:pPr>
              <a:defRPr/>
            </a:pPr>
            <a:endParaRPr lang="en-US" altLang="en-US" sz="1500" dirty="0"/>
          </a:p>
          <a:p>
            <a:pPr>
              <a:defRPr/>
            </a:pPr>
            <a:r>
              <a:rPr lang="en-US" altLang="en-US" sz="1500" dirty="0" smtClean="0"/>
              <a:t>WHAT HAPPENED NEXT……..</a:t>
            </a:r>
            <a:endParaRPr lang="en-US" altLang="en-US" dirty="0"/>
          </a:p>
          <a:p>
            <a:pPr>
              <a:defRPr/>
            </a:pPr>
            <a:endParaRPr lang="en-US" altLang="en-US" dirty="0"/>
          </a:p>
        </p:txBody>
      </p:sp>
    </p:spTree>
    <p:extLst>
      <p:ext uri="{BB962C8B-B14F-4D97-AF65-F5344CB8AC3E}">
        <p14:creationId xmlns:p14="http://schemas.microsoft.com/office/powerpoint/2010/main" val="158894194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Step-by-Step on How to Launch the Online CT Train Course</a:t>
            </a:r>
            <a:endParaRPr lang="en-US" sz="2400" dirty="0"/>
          </a:p>
        </p:txBody>
      </p:sp>
      <p:pic>
        <p:nvPicPr>
          <p:cNvPr id="4" name="Content Placeholder 3"/>
          <p:cNvPicPr>
            <a:picLocks noGrp="1" noChangeAspect="1"/>
          </p:cNvPicPr>
          <p:nvPr>
            <p:ph idx="1"/>
          </p:nvPr>
        </p:nvPicPr>
        <p:blipFill>
          <a:blip r:embed="rId2"/>
          <a:stretch>
            <a:fillRect/>
          </a:stretch>
        </p:blipFill>
        <p:spPr>
          <a:xfrm>
            <a:off x="628650" y="1498085"/>
            <a:ext cx="7886700" cy="3006168"/>
          </a:xfrm>
          <a:prstGeom prst="rect">
            <a:avLst/>
          </a:prstGeom>
        </p:spPr>
      </p:pic>
    </p:spTree>
    <p:extLst>
      <p:ext uri="{BB962C8B-B14F-4D97-AF65-F5344CB8AC3E}">
        <p14:creationId xmlns:p14="http://schemas.microsoft.com/office/powerpoint/2010/main" val="128761207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Step-by-Step on How to Launch the Online CT Train Course</a:t>
            </a:r>
            <a:endParaRPr lang="en-US" sz="2400" dirty="0"/>
          </a:p>
        </p:txBody>
      </p:sp>
      <p:pic>
        <p:nvPicPr>
          <p:cNvPr id="4" name="Content Placeholder 3"/>
          <p:cNvPicPr>
            <a:picLocks noGrp="1" noChangeAspect="1"/>
          </p:cNvPicPr>
          <p:nvPr>
            <p:ph idx="1"/>
          </p:nvPr>
        </p:nvPicPr>
        <p:blipFill>
          <a:blip r:embed="rId2"/>
          <a:stretch>
            <a:fillRect/>
          </a:stretch>
        </p:blipFill>
        <p:spPr>
          <a:xfrm>
            <a:off x="628650" y="1421321"/>
            <a:ext cx="7886700" cy="3159695"/>
          </a:xfrm>
          <a:prstGeom prst="rect">
            <a:avLst/>
          </a:prstGeom>
        </p:spPr>
      </p:pic>
    </p:spTree>
    <p:extLst>
      <p:ext uri="{BB962C8B-B14F-4D97-AF65-F5344CB8AC3E}">
        <p14:creationId xmlns:p14="http://schemas.microsoft.com/office/powerpoint/2010/main" val="402740565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Step-by-Step on How to Launch the Online CT Train Course</a:t>
            </a:r>
            <a:endParaRPr lang="en-US" sz="2400" dirty="0"/>
          </a:p>
        </p:txBody>
      </p:sp>
      <p:sp>
        <p:nvSpPr>
          <p:cNvPr id="3" name="Content Placeholder 2"/>
          <p:cNvSpPr>
            <a:spLocks noGrp="1"/>
          </p:cNvSpPr>
          <p:nvPr>
            <p:ph idx="1"/>
          </p:nvPr>
        </p:nvSpPr>
        <p:spPr/>
        <p:txBody>
          <a:bodyPr/>
          <a:lstStyle/>
          <a:p>
            <a:pPr marL="0" indent="0">
              <a:buNone/>
            </a:pPr>
            <a:r>
              <a:rPr lang="en-US" dirty="0" smtClean="0"/>
              <a:t>Step 9: Click “Continue” Button</a:t>
            </a:r>
          </a:p>
          <a:p>
            <a:pPr marL="0" indent="0">
              <a:buNone/>
            </a:pPr>
            <a:endParaRPr lang="en-US" dirty="0"/>
          </a:p>
        </p:txBody>
      </p:sp>
      <p:pic>
        <p:nvPicPr>
          <p:cNvPr id="4" name="Picture 3"/>
          <p:cNvPicPr>
            <a:picLocks noChangeAspect="1"/>
          </p:cNvPicPr>
          <p:nvPr/>
        </p:nvPicPr>
        <p:blipFill>
          <a:blip r:embed="rId2"/>
          <a:stretch>
            <a:fillRect/>
          </a:stretch>
        </p:blipFill>
        <p:spPr>
          <a:xfrm>
            <a:off x="0" y="1923469"/>
            <a:ext cx="9144000" cy="3457872"/>
          </a:xfrm>
          <a:prstGeom prst="rect">
            <a:avLst/>
          </a:prstGeom>
        </p:spPr>
      </p:pic>
    </p:spTree>
    <p:extLst>
      <p:ext uri="{BB962C8B-B14F-4D97-AF65-F5344CB8AC3E}">
        <p14:creationId xmlns:p14="http://schemas.microsoft.com/office/powerpoint/2010/main" val="216269909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Step-by-Step on How to Launch the Online CT Train Course</a:t>
            </a:r>
            <a:endParaRPr lang="en-US" sz="2400" dirty="0"/>
          </a:p>
        </p:txBody>
      </p:sp>
      <p:pic>
        <p:nvPicPr>
          <p:cNvPr id="4" name="Content Placeholder 3"/>
          <p:cNvPicPr>
            <a:picLocks noGrp="1" noChangeAspect="1"/>
          </p:cNvPicPr>
          <p:nvPr>
            <p:ph idx="1"/>
          </p:nvPr>
        </p:nvPicPr>
        <p:blipFill>
          <a:blip r:embed="rId2"/>
          <a:stretch>
            <a:fillRect/>
          </a:stretch>
        </p:blipFill>
        <p:spPr>
          <a:xfrm>
            <a:off x="878495" y="1370013"/>
            <a:ext cx="7387009" cy="3262312"/>
          </a:xfrm>
          <a:prstGeom prst="rect">
            <a:avLst/>
          </a:prstGeom>
        </p:spPr>
      </p:pic>
    </p:spTree>
    <p:extLst>
      <p:ext uri="{BB962C8B-B14F-4D97-AF65-F5344CB8AC3E}">
        <p14:creationId xmlns:p14="http://schemas.microsoft.com/office/powerpoint/2010/main" val="250347607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Step-by-Step on How to Launch the Online CT Train Course</a:t>
            </a:r>
            <a:endParaRPr lang="en-US" sz="2400" dirty="0"/>
          </a:p>
        </p:txBody>
      </p:sp>
      <p:sp>
        <p:nvSpPr>
          <p:cNvPr id="3" name="Content Placeholder 2"/>
          <p:cNvSpPr>
            <a:spLocks noGrp="1"/>
          </p:cNvSpPr>
          <p:nvPr>
            <p:ph idx="1"/>
          </p:nvPr>
        </p:nvSpPr>
        <p:spPr/>
        <p:txBody>
          <a:bodyPr/>
          <a:lstStyle/>
          <a:p>
            <a:pPr marL="0" indent="0">
              <a:buNone/>
            </a:pPr>
            <a:r>
              <a:rPr lang="en-US" dirty="0" smtClean="0"/>
              <a:t>Step 11: you are ready to start the course</a:t>
            </a:r>
          </a:p>
          <a:p>
            <a:pPr marL="0" indent="0">
              <a:buNone/>
            </a:pPr>
            <a:endParaRPr lang="en-US" dirty="0"/>
          </a:p>
        </p:txBody>
      </p:sp>
      <p:pic>
        <p:nvPicPr>
          <p:cNvPr id="4" name="Picture 3"/>
          <p:cNvPicPr>
            <a:picLocks noChangeAspect="1"/>
          </p:cNvPicPr>
          <p:nvPr/>
        </p:nvPicPr>
        <p:blipFill>
          <a:blip r:embed="rId2"/>
          <a:stretch>
            <a:fillRect/>
          </a:stretch>
        </p:blipFill>
        <p:spPr>
          <a:xfrm>
            <a:off x="0" y="1782959"/>
            <a:ext cx="9144000" cy="4791838"/>
          </a:xfrm>
          <a:prstGeom prst="rect">
            <a:avLst/>
          </a:prstGeom>
        </p:spPr>
      </p:pic>
    </p:spTree>
    <p:extLst>
      <p:ext uri="{BB962C8B-B14F-4D97-AF65-F5344CB8AC3E}">
        <p14:creationId xmlns:p14="http://schemas.microsoft.com/office/powerpoint/2010/main" val="251656533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Step-by-Step on How to Launch the Online CT Train Course</a:t>
            </a:r>
            <a:endParaRPr lang="en-US" sz="2400" dirty="0"/>
          </a:p>
        </p:txBody>
      </p:sp>
      <p:pic>
        <p:nvPicPr>
          <p:cNvPr id="4" name="Content Placeholder 3"/>
          <p:cNvPicPr>
            <a:picLocks noGrp="1" noChangeAspect="1"/>
          </p:cNvPicPr>
          <p:nvPr>
            <p:ph idx="1"/>
          </p:nvPr>
        </p:nvPicPr>
        <p:blipFill>
          <a:blip r:embed="rId2"/>
          <a:stretch>
            <a:fillRect/>
          </a:stretch>
        </p:blipFill>
        <p:spPr>
          <a:xfrm>
            <a:off x="505691" y="1370013"/>
            <a:ext cx="8111836" cy="3262312"/>
          </a:xfrm>
          <a:prstGeom prst="rect">
            <a:avLst/>
          </a:prstGeom>
        </p:spPr>
      </p:pic>
    </p:spTree>
    <p:extLst>
      <p:ext uri="{BB962C8B-B14F-4D97-AF65-F5344CB8AC3E}">
        <p14:creationId xmlns:p14="http://schemas.microsoft.com/office/powerpoint/2010/main" val="407723859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Website: </a:t>
            </a:r>
            <a:r>
              <a:rPr lang="en-US" sz="2000" dirty="0" smtClean="0"/>
              <a:t>https://portal.ct.gov/DPH/Facility-Licensing--Investigations/Facility-Licensing--Investigations-Section-FLIS/Medication-Administration</a:t>
            </a:r>
            <a:endParaRPr lang="en-US" sz="2000" dirty="0"/>
          </a:p>
        </p:txBody>
      </p:sp>
      <p:pic>
        <p:nvPicPr>
          <p:cNvPr id="4" name="Content Placeholder 3"/>
          <p:cNvPicPr>
            <a:picLocks noGrp="1" noChangeAspect="1"/>
          </p:cNvPicPr>
          <p:nvPr>
            <p:ph idx="1"/>
          </p:nvPr>
        </p:nvPicPr>
        <p:blipFill>
          <a:blip r:embed="rId2"/>
          <a:stretch>
            <a:fillRect/>
          </a:stretch>
        </p:blipFill>
        <p:spPr>
          <a:xfrm>
            <a:off x="1260092" y="1370013"/>
            <a:ext cx="6623815" cy="3262312"/>
          </a:xfrm>
          <a:prstGeom prst="rect">
            <a:avLst/>
          </a:prstGeom>
        </p:spPr>
      </p:pic>
    </p:spTree>
    <p:extLst>
      <p:ext uri="{BB962C8B-B14F-4D97-AF65-F5344CB8AC3E}">
        <p14:creationId xmlns:p14="http://schemas.microsoft.com/office/powerpoint/2010/main" val="34528685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udent Manual is found on the website</a:t>
            </a:r>
            <a:endParaRPr lang="en-US" dirty="0"/>
          </a:p>
        </p:txBody>
      </p:sp>
      <p:pic>
        <p:nvPicPr>
          <p:cNvPr id="4" name="Content Placeholder 3"/>
          <p:cNvPicPr>
            <a:picLocks noGrp="1" noChangeAspect="1"/>
          </p:cNvPicPr>
          <p:nvPr>
            <p:ph idx="1"/>
          </p:nvPr>
        </p:nvPicPr>
        <p:blipFill>
          <a:blip r:embed="rId2"/>
          <a:stretch>
            <a:fillRect/>
          </a:stretch>
        </p:blipFill>
        <p:spPr>
          <a:xfrm>
            <a:off x="2120669" y="1370013"/>
            <a:ext cx="4902662" cy="3262312"/>
          </a:xfrm>
          <a:prstGeom prst="rect">
            <a:avLst/>
          </a:prstGeom>
        </p:spPr>
      </p:pic>
    </p:spTree>
    <p:extLst>
      <p:ext uri="{BB962C8B-B14F-4D97-AF65-F5344CB8AC3E}">
        <p14:creationId xmlns:p14="http://schemas.microsoft.com/office/powerpoint/2010/main" val="31011688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ture State</a:t>
            </a:r>
            <a:endParaRPr lang="en-US" dirty="0"/>
          </a:p>
        </p:txBody>
      </p:sp>
      <p:sp>
        <p:nvSpPr>
          <p:cNvPr id="3" name="Content Placeholder 2"/>
          <p:cNvSpPr>
            <a:spLocks noGrp="1"/>
          </p:cNvSpPr>
          <p:nvPr>
            <p:ph idx="1"/>
          </p:nvPr>
        </p:nvSpPr>
        <p:spPr/>
        <p:txBody>
          <a:bodyPr/>
          <a:lstStyle/>
          <a:p>
            <a:r>
              <a:rPr lang="en-US" dirty="0" smtClean="0"/>
              <a:t>The work is ongoing with actual and potential future enhancements:</a:t>
            </a:r>
            <a:br>
              <a:rPr lang="en-US" dirty="0" smtClean="0"/>
            </a:br>
            <a:r>
              <a:rPr lang="en-US" dirty="0" smtClean="0"/>
              <a:t>	</a:t>
            </a:r>
          </a:p>
          <a:p>
            <a:pPr lvl="1"/>
            <a:r>
              <a:rPr lang="en-US" dirty="0" smtClean="0"/>
              <a:t>Short Term Goal: The group is currently developing renewal requirements, which include content length for training and exams.  </a:t>
            </a:r>
          </a:p>
          <a:p>
            <a:pPr lvl="1"/>
            <a:r>
              <a:rPr lang="en-US" dirty="0" smtClean="0"/>
              <a:t>Development of a central registry that could be accessed by all affected agencies which will track certification status (suspension due to medication errors) of individual’s certified to participate in medication administration.</a:t>
            </a:r>
          </a:p>
          <a:p>
            <a:pPr lvl="1"/>
            <a:r>
              <a:rPr lang="en-US" dirty="0" smtClean="0"/>
              <a:t>Shared policy and procedures to mitigate redundancy and confusion.</a:t>
            </a:r>
          </a:p>
          <a:p>
            <a:pPr lvl="1"/>
            <a:r>
              <a:rPr lang="en-US" dirty="0" smtClean="0"/>
              <a:t>Development of a steering committee/advisory board that will monitor and direct future enhancements.</a:t>
            </a:r>
          </a:p>
        </p:txBody>
      </p:sp>
    </p:spTree>
    <p:extLst>
      <p:ext uri="{BB962C8B-B14F-4D97-AF65-F5344CB8AC3E}">
        <p14:creationId xmlns:p14="http://schemas.microsoft.com/office/powerpoint/2010/main" val="283293953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841248" y="1321523"/>
            <a:ext cx="4893468" cy="3262312"/>
          </a:xfrm>
        </p:spPr>
      </p:pic>
    </p:spTree>
    <p:extLst>
      <p:ext uri="{BB962C8B-B14F-4D97-AF65-F5344CB8AC3E}">
        <p14:creationId xmlns:p14="http://schemas.microsoft.com/office/powerpoint/2010/main" val="18762728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ecial Act 17-21</a:t>
            </a:r>
            <a:endParaRPr lang="en-US" dirty="0"/>
          </a:p>
        </p:txBody>
      </p:sp>
      <p:sp>
        <p:nvSpPr>
          <p:cNvPr id="3" name="Content Placeholder 2"/>
          <p:cNvSpPr>
            <a:spLocks noGrp="1"/>
          </p:cNvSpPr>
          <p:nvPr>
            <p:ph idx="1"/>
          </p:nvPr>
        </p:nvSpPr>
        <p:spPr/>
        <p:txBody>
          <a:bodyPr>
            <a:normAutofit fontScale="77500" lnSpcReduction="20000"/>
          </a:bodyPr>
          <a:lstStyle/>
          <a:p>
            <a:r>
              <a:rPr lang="en-US" dirty="0" smtClean="0"/>
              <a:t>Special Act 17-21 directed a Lean process to streamline and standardize the process by which certain types of facilities are licensed by state agencies,.  </a:t>
            </a:r>
          </a:p>
          <a:p>
            <a:r>
              <a:rPr lang="en-US" dirty="0" smtClean="0"/>
              <a:t>A subcommittee which includes private service providers was convened post SA 17-21 work to review and revise the currently existing processes by which DCF, DDS and DPH train and certify unlicensed personnel who assist with medication administration in the aforementioned facilities.  </a:t>
            </a:r>
          </a:p>
          <a:p>
            <a:r>
              <a:rPr lang="en-US" dirty="0" smtClean="0"/>
              <a:t>Currently, individuals in licensed residential and/or other state funded community programs supported by Agencies may receive medications by unlicensed personnel who have been trained and certified in medication administration by and through the state agency that is their employer.  </a:t>
            </a:r>
          </a:p>
          <a:p>
            <a:endParaRPr lang="en-US" dirty="0" smtClean="0"/>
          </a:p>
          <a:p>
            <a:r>
              <a:rPr lang="en-US" dirty="0" smtClean="0"/>
              <a:t>Each Agency has its own unique individualized training and certification program and does not allow reciprocity across the state agencies even though base competencies are identical.  This workgroup has developed and agreed on content for, a uniform training program that would become the statewide standard for web based training. All certificates would be honored with reciprocity between partner agencies. </a:t>
            </a:r>
            <a:endParaRPr lang="en-US" dirty="0"/>
          </a:p>
        </p:txBody>
      </p:sp>
    </p:spTree>
    <p:extLst>
      <p:ext uri="{BB962C8B-B14F-4D97-AF65-F5344CB8AC3E}">
        <p14:creationId xmlns:p14="http://schemas.microsoft.com/office/powerpoint/2010/main" val="161604583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Have We Done</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068929499"/>
              </p:ext>
            </p:extLst>
          </p:nvPr>
        </p:nvGraphicFramePr>
        <p:xfrm>
          <a:off x="628650" y="1370013"/>
          <a:ext cx="7886700" cy="32623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955184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Work Continued</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057707037"/>
              </p:ext>
            </p:extLst>
          </p:nvPr>
        </p:nvGraphicFramePr>
        <p:xfrm>
          <a:off x="628650" y="1370013"/>
          <a:ext cx="7886700" cy="32623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174036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wo Phases</a:t>
            </a:r>
            <a:endParaRPr lang="en-US" dirty="0"/>
          </a:p>
        </p:txBody>
      </p:sp>
      <p:sp>
        <p:nvSpPr>
          <p:cNvPr id="3" name="Content Placeholder 2"/>
          <p:cNvSpPr>
            <a:spLocks noGrp="1"/>
          </p:cNvSpPr>
          <p:nvPr>
            <p:ph idx="1"/>
          </p:nvPr>
        </p:nvSpPr>
        <p:spPr/>
        <p:txBody>
          <a:bodyPr/>
          <a:lstStyle/>
          <a:p>
            <a:r>
              <a:rPr lang="en-US" dirty="0"/>
              <a:t>The process has been divided into two phases: </a:t>
            </a:r>
            <a:endParaRPr lang="en-US" dirty="0" smtClean="0"/>
          </a:p>
          <a:p>
            <a:pPr lvl="1"/>
            <a:r>
              <a:rPr lang="en-US" dirty="0" smtClean="0"/>
              <a:t>Phase </a:t>
            </a:r>
            <a:r>
              <a:rPr lang="en-US" dirty="0"/>
              <a:t>1 is the uniform interagency medication administration training online curriculum and exam (with a classroom option) </a:t>
            </a:r>
            <a:endParaRPr lang="en-US" dirty="0" smtClean="0"/>
          </a:p>
          <a:p>
            <a:pPr lvl="1"/>
            <a:r>
              <a:rPr lang="en-US" dirty="0" smtClean="0"/>
              <a:t>Phase </a:t>
            </a:r>
            <a:r>
              <a:rPr lang="en-US" dirty="0"/>
              <a:t>2 consists of agency-specific certification and the onsite practicum.  </a:t>
            </a:r>
          </a:p>
        </p:txBody>
      </p:sp>
    </p:spTree>
    <p:extLst>
      <p:ext uri="{BB962C8B-B14F-4D97-AF65-F5344CB8AC3E}">
        <p14:creationId xmlns:p14="http://schemas.microsoft.com/office/powerpoint/2010/main" val="14917956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ining Program </a:t>
            </a:r>
            <a:endParaRPr lang="en-US" dirty="0"/>
          </a:p>
        </p:txBody>
      </p:sp>
      <p:sp>
        <p:nvSpPr>
          <p:cNvPr id="3" name="Content Placeholder 2"/>
          <p:cNvSpPr>
            <a:spLocks noGrp="1"/>
          </p:cNvSpPr>
          <p:nvPr>
            <p:ph idx="1"/>
          </p:nvPr>
        </p:nvSpPr>
        <p:spPr/>
        <p:txBody>
          <a:bodyPr/>
          <a:lstStyle/>
          <a:p>
            <a:r>
              <a:rPr lang="en-US" dirty="0"/>
              <a:t>Each hiring authority may have specific pre-requisites and those must be satisfied prior to Learners launching the course.  Once pre-requisites are satisfied, e.g. criminal background check, the learner will receive a code from their employer to launch the course.   </a:t>
            </a:r>
          </a:p>
          <a:p>
            <a:r>
              <a:rPr lang="en-US" dirty="0"/>
              <a:t>The learner registers through CT Train.  Demographic information is collected as required by CT Train.   </a:t>
            </a:r>
          </a:p>
        </p:txBody>
      </p:sp>
    </p:spTree>
    <p:extLst>
      <p:ext uri="{BB962C8B-B14F-4D97-AF65-F5344CB8AC3E}">
        <p14:creationId xmlns:p14="http://schemas.microsoft.com/office/powerpoint/2010/main" val="308621361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ining Program</a:t>
            </a:r>
            <a:endParaRPr lang="en-US" dirty="0"/>
          </a:p>
        </p:txBody>
      </p:sp>
      <p:sp>
        <p:nvSpPr>
          <p:cNvPr id="3" name="Content Placeholder 2"/>
          <p:cNvSpPr>
            <a:spLocks noGrp="1"/>
          </p:cNvSpPr>
          <p:nvPr>
            <p:ph idx="1"/>
          </p:nvPr>
        </p:nvSpPr>
        <p:spPr/>
        <p:txBody>
          <a:bodyPr/>
          <a:lstStyle/>
          <a:p>
            <a:r>
              <a:rPr lang="en-US" dirty="0"/>
              <a:t>Once the learner initiates the course, it is anticipated that the course will be completed in 15 hours of on-line time and should not exceed 3 weeks, to complete the course.  CT Train has functionality to track the hours the leaner has taken to compete the course.  </a:t>
            </a:r>
            <a:endParaRPr lang="en-US" dirty="0" smtClean="0"/>
          </a:p>
          <a:p>
            <a:r>
              <a:rPr lang="en-US" dirty="0" smtClean="0"/>
              <a:t>Should </a:t>
            </a:r>
            <a:r>
              <a:rPr lang="en-US" dirty="0"/>
              <a:t>there be technical issues, the sponsor state agency should be notified.  The learner may pause, stop and resume, using the same sign in and code that was issued from the employer.  </a:t>
            </a:r>
          </a:p>
          <a:p>
            <a:endParaRPr lang="en-US" dirty="0"/>
          </a:p>
        </p:txBody>
      </p:sp>
    </p:spTree>
    <p:extLst>
      <p:ext uri="{BB962C8B-B14F-4D97-AF65-F5344CB8AC3E}">
        <p14:creationId xmlns:p14="http://schemas.microsoft.com/office/powerpoint/2010/main" val="35061415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ining Program</a:t>
            </a:r>
            <a:endParaRPr lang="en-US" dirty="0"/>
          </a:p>
        </p:txBody>
      </p:sp>
      <p:sp>
        <p:nvSpPr>
          <p:cNvPr id="3" name="Content Placeholder 2"/>
          <p:cNvSpPr>
            <a:spLocks noGrp="1"/>
          </p:cNvSpPr>
          <p:nvPr>
            <p:ph idx="1"/>
          </p:nvPr>
        </p:nvSpPr>
        <p:spPr/>
        <p:txBody>
          <a:bodyPr>
            <a:normAutofit/>
          </a:bodyPr>
          <a:lstStyle/>
          <a:p>
            <a:r>
              <a:rPr lang="en-US" dirty="0"/>
              <a:t>It is expected that the learner will be completing the course independently and will not have support from others to complete the course.  During the course the learner will attest to such. </a:t>
            </a:r>
          </a:p>
          <a:p>
            <a:r>
              <a:rPr lang="en-US" dirty="0"/>
              <a:t>Once the course is successfully completed, a certificate of completion will be issued from CT Train. </a:t>
            </a:r>
          </a:p>
          <a:p>
            <a:r>
              <a:rPr lang="en-US" dirty="0"/>
              <a:t>At the completion of the on-line course, a course evaluation is required of each learner.  Your feedback is very important as we move forward.  We expect there will be modifications based on your feedback.   </a:t>
            </a:r>
          </a:p>
        </p:txBody>
      </p:sp>
    </p:spTree>
    <p:extLst>
      <p:ext uri="{BB962C8B-B14F-4D97-AF65-F5344CB8AC3E}">
        <p14:creationId xmlns:p14="http://schemas.microsoft.com/office/powerpoint/2010/main" val="5242869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wGn8N5vTIw4prqpFwdj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4VPkKHdPL6aZh1g23Or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19aDupkxfokKIAMpHmcB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5eZbMwmgbqtxZ12iEti9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xRyEyxQcg44BeugfjO0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jz2zfnROIIHQXryY_Vf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oIYyc96H9E5YBPzzkbZb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i6v_mOhIl.liCur1Lam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20_b4fWXZJSgWAmOKFRO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juGJivDdd2hEZSQoowEQ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1862A7241CD5C4BB9A49AEC91EB145E" ma:contentTypeVersion="12" ma:contentTypeDescription="Create a new document." ma:contentTypeScope="" ma:versionID="53e6c85db6bdf7fc762641b07dfce8c7">
  <xsd:schema xmlns:xsd="http://www.w3.org/2001/XMLSchema" xmlns:xs="http://www.w3.org/2001/XMLSchema" xmlns:p="http://schemas.microsoft.com/office/2006/metadata/properties" xmlns:ns1="http://schemas.microsoft.com/sharepoint/v3" xmlns:ns3="c867d1a5-5827-4927-b797-91c0fe867b8f" xmlns:ns4="26e7f4b6-3714-4cf5-b0ae-a47b16f23eba" targetNamespace="http://schemas.microsoft.com/office/2006/metadata/properties" ma:root="true" ma:fieldsID="0b92ebfc59544e986025d58f7a865030" ns1:_="" ns3:_="" ns4:_="">
    <xsd:import namespace="http://schemas.microsoft.com/sharepoint/v3"/>
    <xsd:import namespace="c867d1a5-5827-4927-b797-91c0fe867b8f"/>
    <xsd:import namespace="26e7f4b6-3714-4cf5-b0ae-a47b16f23eba"/>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1:_ip_UnifiedCompliancePolicyProperties" minOccurs="0"/>
                <xsd:element ref="ns1:_ip_UnifiedCompliancePolicyUIAction"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7" nillable="true" ma:displayName="Unified Compliance Policy Properties" ma:hidden="true" ma:internalName="_ip_UnifiedCompliancePolicyProperties">
      <xsd:simpleType>
        <xsd:restriction base="dms:Note"/>
      </xsd:simpleType>
    </xsd:element>
    <xsd:element name="_ip_UnifiedCompliancePolicyUIAction" ma:index="1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867d1a5-5827-4927-b797-91c0fe867b8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6e7f4b6-3714-4cf5-b0ae-a47b16f23eb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9F85D495-8587-4748-811F-D061C308FB2F}">
  <ds:schemaRefs>
    <ds:schemaRef ds:uri="26e7f4b6-3714-4cf5-b0ae-a47b16f23eba"/>
    <ds:schemaRef ds:uri="c867d1a5-5827-4927-b797-91c0fe867b8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815BDAD-E2F6-41FF-829F-7DEFD9D2ABF2}">
  <ds:schemaRefs>
    <ds:schemaRef ds:uri="http://schemas.microsoft.com/sharepoint/v3/contenttype/forms"/>
  </ds:schemaRefs>
</ds:datastoreItem>
</file>

<file path=customXml/itemProps3.xml><?xml version="1.0" encoding="utf-8"?>
<ds:datastoreItem xmlns:ds="http://schemas.openxmlformats.org/officeDocument/2006/customXml" ds:itemID="{29C69C7B-62D6-4A82-ACFB-8BC7EE6125A0}">
  <ds:schemaRefs>
    <ds:schemaRef ds:uri="http://schemas.microsoft.com/office/2006/documentManagement/types"/>
    <ds:schemaRef ds:uri="http://purl.org/dc/terms/"/>
    <ds:schemaRef ds:uri="http://schemas.microsoft.com/sharepoint/v3"/>
    <ds:schemaRef ds:uri="http://purl.org/dc/dcmitype/"/>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26e7f4b6-3714-4cf5-b0ae-a47b16f23eba"/>
    <ds:schemaRef ds:uri="c867d1a5-5827-4927-b797-91c0fe867b8f"/>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378</TotalTime>
  <Words>576</Words>
  <Application>Microsoft Office PowerPoint</Application>
  <PresentationFormat>On-screen Show (16:9)</PresentationFormat>
  <Paragraphs>89</Paragraphs>
  <Slides>29</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7" baseType="lpstr">
      <vt:lpstr>Arial</vt:lpstr>
      <vt:lpstr>Calibri</vt:lpstr>
      <vt:lpstr>Calibri Light</vt:lpstr>
      <vt:lpstr>Georgia</vt:lpstr>
      <vt:lpstr>Times New Roman</vt:lpstr>
      <vt:lpstr>Trebuchet MS</vt:lpstr>
      <vt:lpstr>Office Theme</vt:lpstr>
      <vt:lpstr>think-cell Slide</vt:lpstr>
      <vt:lpstr>Department of Children &amp; Families (DCF) Department of Developmental Services (DDS) Department of Public Health (DPH)</vt:lpstr>
      <vt:lpstr>Special Act 17-21 </vt:lpstr>
      <vt:lpstr>Special Act 17-21</vt:lpstr>
      <vt:lpstr>What Have We Done</vt:lpstr>
      <vt:lpstr>The Work Continued</vt:lpstr>
      <vt:lpstr>Two Phases</vt:lpstr>
      <vt:lpstr>Training Program </vt:lpstr>
      <vt:lpstr>Training Program</vt:lpstr>
      <vt:lpstr>Training Program</vt:lpstr>
      <vt:lpstr>Points to Remember</vt:lpstr>
      <vt:lpstr>Points to Remember</vt:lpstr>
      <vt:lpstr>Phase One</vt:lpstr>
      <vt:lpstr>  Step-by-Step on How to Launch the Online CT Train Course </vt:lpstr>
      <vt:lpstr>CT Train</vt:lpstr>
      <vt:lpstr>Step-by-Step on How to Launch the Online CT Train Course</vt:lpstr>
      <vt:lpstr>Step-by-Step on How to Launch the Online CT Train Course</vt:lpstr>
      <vt:lpstr>Step-by-Step on How to Launch the Online CT Train Course</vt:lpstr>
      <vt:lpstr>Step-by-Step on How to Launch the Online CT Train Course</vt:lpstr>
      <vt:lpstr>Step-by-Step on How to Launch the Online CT Train Course</vt:lpstr>
      <vt:lpstr>Step-by-Step on How to Launch the Online CT Train Course</vt:lpstr>
      <vt:lpstr>Step-by-Step on How to Launch the Online CT Train Course</vt:lpstr>
      <vt:lpstr>Step-by-Step on How to Launch the Online CT Train Course</vt:lpstr>
      <vt:lpstr>Step-by-Step on How to Launch the Online CT Train Course</vt:lpstr>
      <vt:lpstr>Step-by-Step on How to Launch the Online CT Train Course</vt:lpstr>
      <vt:lpstr>Step-by-Step on How to Launch the Online CT Train Course</vt:lpstr>
      <vt:lpstr>Website: https://portal.ct.gov/DPH/Facility-Licensing--Investigations/Facility-Licensing--Investigations-Section-FLIS/Medication-Administration</vt:lpstr>
      <vt:lpstr>Student Manual is found on the website</vt:lpstr>
      <vt:lpstr>Future State</vt:lpstr>
      <vt:lpstr>Question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dman, Caroline</dc:creator>
  <cp:lastModifiedBy>Cass, Barbara</cp:lastModifiedBy>
  <cp:revision>20</cp:revision>
  <dcterms:modified xsi:type="dcterms:W3CDTF">2022-03-29T15:00: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1862A7241CD5C4BB9A49AEC91EB145E</vt:lpwstr>
  </property>
</Properties>
</file>